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theme/themeOverride1.xml" ContentType="application/vnd.openxmlformats-officedocument.themeOverr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hartEx1.xml" ContentType="application/vnd.ms-office.chartex+xml"/>
  <Override PartName="/ppt/charts/chartEx2.xml" ContentType="application/vnd.ms-office.chartex+xml"/>
  <Override PartName="/ppt/charts/colors40.xml" ContentType="application/vnd.ms-office.chartcolorstyle+xml"/>
  <Override PartName="/ppt/charts/style40.xml" ContentType="application/vnd.ms-office.chartstyle+xml"/>
  <Override PartName="/ppt/charts/colors50.xml" ContentType="application/vnd.ms-office.chartcolorstyle+xml"/>
  <Override PartName="/ppt/charts/style50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329" r:id="rId4"/>
    <p:sldId id="330" r:id="rId5"/>
    <p:sldId id="331" r:id="rId6"/>
    <p:sldId id="333" r:id="rId7"/>
    <p:sldId id="334" r:id="rId8"/>
    <p:sldId id="335" r:id="rId9"/>
    <p:sldId id="340" r:id="rId10"/>
    <p:sldId id="337" r:id="rId11"/>
    <p:sldId id="338" r:id="rId12"/>
    <p:sldId id="339" r:id="rId13"/>
    <p:sldId id="264" r:id="rId14"/>
    <p:sldId id="284" r:id="rId15"/>
    <p:sldId id="273" r:id="rId16"/>
    <p:sldId id="295" r:id="rId17"/>
    <p:sldId id="341" r:id="rId18"/>
    <p:sldId id="342" r:id="rId19"/>
    <p:sldId id="343" r:id="rId20"/>
    <p:sldId id="344" r:id="rId21"/>
    <p:sldId id="325" r:id="rId22"/>
    <p:sldId id="271" r:id="rId23"/>
    <p:sldId id="345" r:id="rId24"/>
    <p:sldId id="346" r:id="rId25"/>
    <p:sldId id="347" r:id="rId26"/>
    <p:sldId id="265" r:id="rId27"/>
    <p:sldId id="326" r:id="rId28"/>
    <p:sldId id="327" r:id="rId29"/>
    <p:sldId id="306" r:id="rId30"/>
    <p:sldId id="266" r:id="rId31"/>
    <p:sldId id="270" r:id="rId32"/>
    <p:sldId id="285" r:id="rId33"/>
    <p:sldId id="286" r:id="rId34"/>
    <p:sldId id="311" r:id="rId35"/>
    <p:sldId id="313" r:id="rId36"/>
    <p:sldId id="314" r:id="rId37"/>
    <p:sldId id="315" r:id="rId38"/>
    <p:sldId id="310" r:id="rId39"/>
    <p:sldId id="288" r:id="rId40"/>
    <p:sldId id="309" r:id="rId4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3379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4" orient="horz" pos="4178" userDrawn="1">
          <p15:clr>
            <a:srgbClr val="A4A3A4"/>
          </p15:clr>
        </p15:guide>
        <p15:guide id="5" pos="431" userDrawn="1">
          <p15:clr>
            <a:srgbClr val="A4A3A4"/>
          </p15:clr>
        </p15:guide>
        <p15:guide id="6" pos="5397" userDrawn="1">
          <p15:clr>
            <a:srgbClr val="A4A3A4"/>
          </p15:clr>
        </p15:guide>
        <p15:guide id="7" orient="horz" pos="1820" userDrawn="1">
          <p15:clr>
            <a:srgbClr val="A4A3A4"/>
          </p15:clr>
        </p15:guide>
        <p15:guide id="8" orient="horz" pos="3974" userDrawn="1">
          <p15:clr>
            <a:srgbClr val="A4A3A4"/>
          </p15:clr>
        </p15:guide>
        <p15:guide id="10" orient="horz" pos="2795" userDrawn="1">
          <p15:clr>
            <a:srgbClr val="A4A3A4"/>
          </p15:clr>
        </p15:guide>
        <p15:guide id="11" pos="3107" userDrawn="1">
          <p15:clr>
            <a:srgbClr val="A4A3A4"/>
          </p15:clr>
        </p15:guide>
        <p15:guide id="12" orient="horz" pos="2523" userDrawn="1">
          <p15:clr>
            <a:srgbClr val="A4A3A4"/>
          </p15:clr>
        </p15:guide>
        <p15:guide id="13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3A94"/>
    <a:srgbClr val="E10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56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1380" y="54"/>
      </p:cViewPr>
      <p:guideLst>
        <p:guide orient="horz" pos="1117"/>
        <p:guide pos="3379"/>
        <p:guide orient="horz"/>
        <p:guide orient="horz" pos="4178"/>
        <p:guide pos="431"/>
        <p:guide pos="5397"/>
        <p:guide orient="horz" pos="1820"/>
        <p:guide orient="horz" pos="3974"/>
        <p:guide orient="horz" pos="2795"/>
        <p:guide pos="3107"/>
        <p:guide orient="horz" pos="252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E:\&#48372;&#48393;&#51060;&#54260;&#45908;\&#54617;&#44368;\2016&#45380;%202&#54617;&#44592;(&#51221;&#44592;&#54617;&#44592;)\&#47932;&#47448;&#44221;&#51228;&#47200;(&#54616;&#54732;&#44396;%20&#44368;&#49688;&#45784;)\&#54016;&#54540;\To-be\&#54644;&#50868;&#51648;&#54364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E:\&#48372;&#48393;&#51060;&#54260;&#45908;\&#54617;&#44368;\2016&#45380;%202&#54617;&#44592;(&#51221;&#44592;&#54617;&#44592;)\&#47932;&#47448;&#44221;&#51228;&#47200;(&#54616;&#54732;&#44396;%20&#44368;&#49688;&#45784;)\&#54016;&#54540;\To-be\&#54644;&#50868;&#51648;&#54364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E:\&#48372;&#48393;&#51060;&#54260;&#45908;\&#54617;&#44368;\2016&#45380;%202&#54617;&#44592;(&#51221;&#44592;&#54617;&#44592;)\&#47932;&#47448;&#44221;&#51228;&#47200;(&#54616;&#54732;&#44396;%20&#44368;&#49688;&#45784;)\&#54016;&#54540;\&#48516;&#44592;&#48324;%20&#54924;&#44480;&#48516;&#49437;%2020161123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E:\&#48372;&#48393;&#51060;&#54260;&#45908;\&#54617;&#44368;\2016&#45380;%202&#54617;&#44592;(&#51221;&#44592;&#54617;&#44592;)\&#47932;&#47448;&#44221;&#51228;&#47200;(&#54616;&#54732;&#44396;%20&#44368;&#49688;&#45784;)\&#54016;&#54540;\&#48516;&#44592;&#48324;%20&#54924;&#44480;&#48516;&#49437;%2020161123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E:\&#48372;&#48393;&#51060;&#54260;&#45908;\&#54617;&#44368;\2016&#45380;%202&#54617;&#44592;(&#51221;&#44592;&#54617;&#44592;)\&#47932;&#47448;&#44221;&#51228;&#47200;(&#54616;&#54732;&#44396;%20&#44368;&#49688;&#45784;)\&#54016;&#54540;\&#48516;&#44592;&#48324;%20&#54924;&#44480;&#48516;&#49437;%2020161123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E:\&#48372;&#48393;&#51060;&#54260;&#45908;\&#54617;&#44368;\2016&#45380;%202&#54617;&#44592;(&#51221;&#44592;&#54617;&#44592;)\&#47932;&#47448;&#44221;&#51228;&#47200;(&#54616;&#54732;&#44396;%20&#44368;&#49688;&#45784;)\&#54016;&#54540;\&#48516;&#44592;&#48324;%20&#54924;&#44480;&#48516;&#49437;%2020161123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40.xml"/><Relationship Id="rId2" Type="http://schemas.microsoft.com/office/2011/relationships/chartStyle" Target="style40.xml"/><Relationship Id="rId1" Type="http://schemas.openxmlformats.org/officeDocument/2006/relationships/oleObject" Target="file:///E:\&#48372;&#48393;&#51060;&#54260;&#45908;\&#54617;&#44368;\2016&#45380;%202&#54617;&#44592;(&#51221;&#44592;&#54617;&#44592;)\&#47932;&#47448;&#44221;&#51228;&#47200;(&#54616;&#54732;&#44396;%20&#44368;&#49688;&#45784;)\&#54016;&#54540;\&#48516;&#44592;&#48324;%20&#54924;&#44480;&#48516;&#49437;%2020161123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50.xml"/><Relationship Id="rId2" Type="http://schemas.microsoft.com/office/2011/relationships/chartStyle" Target="style50.xml"/><Relationship Id="rId1" Type="http://schemas.openxmlformats.org/officeDocument/2006/relationships/oleObject" Target="file:///E:\&#48372;&#48393;&#51060;&#54260;&#45908;\&#54617;&#44368;\2016&#45380;%202&#54617;&#44592;(&#51221;&#44592;&#54617;&#44592;)\&#47932;&#47448;&#44221;&#51228;&#47200;(&#54616;&#54732;&#44396;%20&#44368;&#49688;&#45784;)\&#54016;&#54540;\&#48516;&#44592;&#48324;%20&#54924;&#44480;&#48516;&#49437;%2020161123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C$3</c:f>
              <c:strCache>
                <c:ptCount val="1"/>
                <c:pt idx="0">
                  <c:v>HR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D$2:$J$2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Sheet1!$D$3:$J$3</c:f>
              <c:numCache>
                <c:formatCode>General</c:formatCode>
                <c:ptCount val="7"/>
                <c:pt idx="0">
                  <c:v>679</c:v>
                </c:pt>
                <c:pt idx="1">
                  <c:v>539.4</c:v>
                </c:pt>
                <c:pt idx="2">
                  <c:v>466.1</c:v>
                </c:pt>
                <c:pt idx="3">
                  <c:v>500.7</c:v>
                </c:pt>
                <c:pt idx="4">
                  <c:v>540.79999999999995</c:v>
                </c:pt>
                <c:pt idx="5">
                  <c:v>623.1</c:v>
                </c:pt>
                <c:pt idx="6">
                  <c:v>43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A971-46D5-8891-89C10FAE3F93}"/>
            </c:ext>
          </c:extLst>
        </c:ser>
        <c:ser>
          <c:idx val="1"/>
          <c:order val="1"/>
          <c:tx>
            <c:strRef>
              <c:f>Sheet1!$C$4</c:f>
              <c:strCache>
                <c:ptCount val="1"/>
                <c:pt idx="0">
                  <c:v>SCFI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3057358065820461E-3"/>
                  <c:y val="7.794486215538847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971-46D5-8891-89C10FAE3F93}"/>
                </c:ext>
                <c:ext xmlns:c15="http://schemas.microsoft.com/office/drawing/2012/chart" uri="{CE6537A1-D6FC-4f65-9D91-7224C49458BB}">
                  <c15:layout>
                    <c:manualLayout>
                      <c:w val="0.129750902055359"/>
                      <c:h val="9.370947052671047E-2"/>
                    </c:manualLayout>
                  </c15:layout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971-46D5-8891-89C10FAE3F93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A971-46D5-8891-89C10FAE3F93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A971-46D5-8891-89C10FAE3F93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971-46D5-8891-89C10FAE3F93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A971-46D5-8891-89C10FAE3F93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ysClr val="windowText" lastClr="0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2:$J$2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Sheet1!$D$4:$J$4</c:f>
              <c:numCache>
                <c:formatCode>General</c:formatCode>
                <c:ptCount val="7"/>
                <c:pt idx="0">
                  <c:v>1422.5</c:v>
                </c:pt>
                <c:pt idx="1">
                  <c:v>547.4</c:v>
                </c:pt>
                <c:pt idx="2">
                  <c:v>1294.5</c:v>
                </c:pt>
                <c:pt idx="3">
                  <c:v>1206.8</c:v>
                </c:pt>
                <c:pt idx="4">
                  <c:v>993.8</c:v>
                </c:pt>
                <c:pt idx="5">
                  <c:v>670</c:v>
                </c:pt>
                <c:pt idx="6">
                  <c:v>67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A971-46D5-8891-89C10FAE3F93}"/>
            </c:ext>
          </c:extLst>
        </c:ser>
        <c:ser>
          <c:idx val="2"/>
          <c:order val="2"/>
          <c:tx>
            <c:strRef>
              <c:f>Sheet1!$C$5</c:f>
              <c:strCache>
                <c:ptCount val="1"/>
                <c:pt idx="0">
                  <c:v>CCFI(미서안)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971-46D5-8891-89C10FAE3F93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A971-46D5-8891-89C10FAE3F93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A971-46D5-8891-89C10FAE3F93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A971-46D5-8891-89C10FAE3F93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A971-46D5-8891-89C10FAE3F93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5.1629046369203853E-2"/>
                  <c:y val="4.75462962962963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A971-46D5-8891-89C10FAE3F93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ysClr val="windowText" lastClr="0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2:$J$2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Sheet1!$D$5:$J$5</c:f>
              <c:numCache>
                <c:formatCode>General</c:formatCode>
                <c:ptCount val="7"/>
                <c:pt idx="0">
                  <c:v>1057</c:v>
                </c:pt>
                <c:pt idx="1">
                  <c:v>953.79</c:v>
                </c:pt>
                <c:pt idx="2">
                  <c:v>1052.44</c:v>
                </c:pt>
                <c:pt idx="3">
                  <c:v>1059</c:v>
                </c:pt>
                <c:pt idx="4">
                  <c:v>951.5</c:v>
                </c:pt>
                <c:pt idx="5">
                  <c:v>905.37</c:v>
                </c:pt>
                <c:pt idx="6">
                  <c:v>674.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E-A971-46D5-8891-89C10FAE3F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2638168"/>
        <c:axId val="192638952"/>
      </c:lineChart>
      <c:catAx>
        <c:axId val="1926381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defRPr>
            </a:pPr>
            <a:endParaRPr lang="ko-KR"/>
          </a:p>
        </c:txPr>
        <c:crossAx val="192638952"/>
        <c:crosses val="autoZero"/>
        <c:auto val="1"/>
        <c:lblAlgn val="ctr"/>
        <c:lblOffset val="100"/>
        <c:noMultiLvlLbl val="0"/>
      </c:catAx>
      <c:valAx>
        <c:axId val="192638952"/>
        <c:scaling>
          <c:orientation val="minMax"/>
          <c:max val="1450"/>
          <c:min val="400"/>
        </c:scaling>
        <c:delete val="1"/>
        <c:axPos val="l"/>
        <c:numFmt formatCode="General" sourceLinked="1"/>
        <c:majorTickMark val="out"/>
        <c:minorTickMark val="none"/>
        <c:tickLblPos val="nextTo"/>
        <c:crossAx val="192638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나눔바른고딕" panose="020B0603020101020101" pitchFamily="50" charset="-127"/>
          <a:ea typeface="나눔바른고딕" panose="020B0603020101020101" pitchFamily="50" charset="-127"/>
        </a:defRPr>
      </a:pPr>
      <a:endParaRPr lang="ko-K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$8</c:f>
              <c:strCache>
                <c:ptCount val="1"/>
                <c:pt idx="0">
                  <c:v>물동량 증가율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rgbClr val="00B0F0"/>
              </a:solidFill>
            </a:ln>
            <a:effectLst/>
          </c:spPr>
          <c:invertIfNegative val="0"/>
          <c:dLbls>
            <c:dLbl>
              <c:idx val="5"/>
              <c:layout>
                <c:manualLayout>
                  <c:x val="-8.3333333333333332E-3"/>
                  <c:y val="9.72225867599883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549-44DE-9041-BB6B720FF9C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7:$J$7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Sheet1!$D$8:$J$8</c:f>
              <c:numCache>
                <c:formatCode>General</c:formatCode>
                <c:ptCount val="7"/>
                <c:pt idx="0">
                  <c:v>12.2</c:v>
                </c:pt>
                <c:pt idx="1">
                  <c:v>9.4</c:v>
                </c:pt>
                <c:pt idx="2">
                  <c:v>5.2</c:v>
                </c:pt>
                <c:pt idx="3">
                  <c:v>11.3</c:v>
                </c:pt>
                <c:pt idx="4">
                  <c:v>5.7</c:v>
                </c:pt>
                <c:pt idx="5">
                  <c:v>-0.1</c:v>
                </c:pt>
                <c:pt idx="6">
                  <c:v>1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549-44DE-9041-BB6B720FF9CF}"/>
            </c:ext>
          </c:extLst>
        </c:ser>
        <c:ser>
          <c:idx val="1"/>
          <c:order val="1"/>
          <c:tx>
            <c:strRef>
              <c:f>Sheet1!$C$9</c:f>
              <c:strCache>
                <c:ptCount val="1"/>
                <c:pt idx="0">
                  <c:v>선복량 증가율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rgbClr val="002060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7:$J$7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Sheet1!$D$9:$J$9</c:f>
              <c:numCache>
                <c:formatCode>General</c:formatCode>
                <c:ptCount val="7"/>
                <c:pt idx="0">
                  <c:v>8.3000000000000007</c:v>
                </c:pt>
                <c:pt idx="1">
                  <c:v>14.9</c:v>
                </c:pt>
                <c:pt idx="2">
                  <c:v>13.4</c:v>
                </c:pt>
                <c:pt idx="3">
                  <c:v>8</c:v>
                </c:pt>
                <c:pt idx="4">
                  <c:v>4.0999999999999996</c:v>
                </c:pt>
                <c:pt idx="5">
                  <c:v>4.3</c:v>
                </c:pt>
                <c:pt idx="6">
                  <c:v>3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549-44DE-9041-BB6B720FF9CF}"/>
            </c:ext>
          </c:extLst>
        </c:ser>
        <c:ser>
          <c:idx val="2"/>
          <c:order val="2"/>
          <c:tx>
            <c:strRef>
              <c:f>Sheet1!$C$10</c:f>
              <c:strCache>
                <c:ptCount val="1"/>
                <c:pt idx="0">
                  <c:v>차이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D$7:$J$7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Sheet1!$D$10:$J$10</c:f>
              <c:numCache>
                <c:formatCode>General</c:formatCode>
                <c:ptCount val="7"/>
                <c:pt idx="0">
                  <c:v>3.8999999999999986</c:v>
                </c:pt>
                <c:pt idx="1">
                  <c:v>-5.5</c:v>
                </c:pt>
                <c:pt idx="2">
                  <c:v>-8.1999999999999993</c:v>
                </c:pt>
                <c:pt idx="3">
                  <c:v>3.3000000000000007</c:v>
                </c:pt>
                <c:pt idx="4">
                  <c:v>1.6000000000000005</c:v>
                </c:pt>
                <c:pt idx="5">
                  <c:v>-4.3999999999999995</c:v>
                </c:pt>
                <c:pt idx="6">
                  <c:v>-1.599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549-44DE-9041-BB6B720FF9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2639736"/>
        <c:axId val="192640128"/>
      </c:barChart>
      <c:catAx>
        <c:axId val="192639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defRPr>
            </a:pPr>
            <a:endParaRPr lang="ko-KR"/>
          </a:p>
        </c:txPr>
        <c:crossAx val="192640128"/>
        <c:crosses val="autoZero"/>
        <c:auto val="1"/>
        <c:lblAlgn val="ctr"/>
        <c:lblOffset val="100"/>
        <c:noMultiLvlLbl val="0"/>
      </c:catAx>
      <c:valAx>
        <c:axId val="1926401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2639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나눔바른고딕" panose="020B0603020101020101" pitchFamily="50" charset="-127"/>
          <a:ea typeface="나눔바른고딕" panose="020B0603020101020101" pitchFamily="50" charset="-127"/>
        </a:defRPr>
      </a:pPr>
      <a:endParaRPr lang="ko-K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defRPr>
            </a:pPr>
            <a:r>
              <a:rPr lang="en-US" altLang="ko-KR" dirty="0">
                <a:solidFill>
                  <a:schemeClr val="tx1"/>
                </a:solidFill>
              </a:rPr>
              <a:t>[</a:t>
            </a:r>
            <a:r>
              <a:rPr lang="ko-KR" dirty="0">
                <a:solidFill>
                  <a:schemeClr val="tx1"/>
                </a:solidFill>
              </a:rPr>
              <a:t>현대상선 매출원가 구조</a:t>
            </a:r>
            <a:r>
              <a:rPr lang="en-US" altLang="ko-KR" dirty="0">
                <a:solidFill>
                  <a:schemeClr val="tx1"/>
                </a:solidFill>
              </a:rPr>
              <a:t>]</a:t>
            </a:r>
            <a:endParaRPr lang="ko-KR" dirty="0">
              <a:solidFill>
                <a:schemeClr val="tx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defRPr>
          </a:pPr>
          <a:endParaRPr lang="ko-KR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explosion val="1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9D3-4A7D-8162-7E4FCCA43B92}"/>
              </c:ext>
            </c:extLst>
          </c:dPt>
          <c:dPt>
            <c:idx val="1"/>
            <c:bubble3D val="0"/>
            <c:explosion val="8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9D3-4A7D-8162-7E4FCCA43B92}"/>
              </c:ext>
            </c:extLst>
          </c:dPt>
          <c:dPt>
            <c:idx val="2"/>
            <c:bubble3D val="0"/>
            <c:explosion val="5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9D3-4A7D-8162-7E4FCCA43B92}"/>
              </c:ext>
            </c:extLst>
          </c:dPt>
          <c:dPt>
            <c:idx val="3"/>
            <c:bubble3D val="0"/>
            <c:explosion val="1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9D3-4A7D-8162-7E4FCCA43B92}"/>
              </c:ext>
            </c:extLst>
          </c:dPt>
          <c:dPt>
            <c:idx val="4"/>
            <c:bubble3D val="0"/>
            <c:explosion val="1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49D3-4A7D-8162-7E4FCCA43B92}"/>
              </c:ext>
            </c:extLst>
          </c:dPt>
          <c:dPt>
            <c:idx val="5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49D3-4A7D-8162-7E4FCCA43B92}"/>
              </c:ext>
            </c:extLst>
          </c:dPt>
          <c:dPt>
            <c:idx val="6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49D3-4A7D-8162-7E4FCCA43B92}"/>
              </c:ext>
            </c:extLst>
          </c:dPt>
          <c:dPt>
            <c:idx val="7"/>
            <c:bubble3D val="0"/>
            <c:spPr>
              <a:solidFill>
                <a:schemeClr val="accent3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49D3-4A7D-8162-7E4FCCA43B92}"/>
              </c:ext>
            </c:extLst>
          </c:dPt>
          <c:dPt>
            <c:idx val="8"/>
            <c:bubble3D val="0"/>
            <c:spPr>
              <a:solidFill>
                <a:schemeClr val="accent5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49D3-4A7D-8162-7E4FCCA43B92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  <a:cs typeface="+mn-cs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  <a:cs typeface="+mn-cs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나눔바른고딕" panose="020B0603020101020101" pitchFamily="50" charset="-127"/>
                      <a:ea typeface="나눔바른고딕" panose="020B0603020101020101" pitchFamily="50" charset="-127"/>
                      <a:cs typeface="+mn-cs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6!$B$4:$B$12</c:f>
              <c:strCache>
                <c:ptCount val="9"/>
                <c:pt idx="0">
                  <c:v>재고자산의 변동 등(원재료)</c:v>
                </c:pt>
                <c:pt idx="1">
                  <c:v>용선료</c:v>
                </c:pt>
                <c:pt idx="2">
                  <c:v>항비</c:v>
                </c:pt>
                <c:pt idx="3">
                  <c:v>화물비</c:v>
                </c:pt>
                <c:pt idx="4">
                  <c:v>기기비</c:v>
                </c:pt>
                <c:pt idx="5">
                  <c:v>급여</c:v>
                </c:pt>
                <c:pt idx="6">
                  <c:v>감가상각비(유형자산, 무형자산, 투자부동산)</c:v>
                </c:pt>
                <c:pt idx="7">
                  <c:v>터미널비</c:v>
                </c:pt>
                <c:pt idx="8">
                  <c:v>기타</c:v>
                </c:pt>
              </c:strCache>
            </c:strRef>
          </c:cat>
          <c:val>
            <c:numRef>
              <c:f>Sheet16!$D$4:$D$12</c:f>
              <c:numCache>
                <c:formatCode>0.0%</c:formatCode>
                <c:ptCount val="9"/>
                <c:pt idx="0">
                  <c:v>0.11195697628609146</c:v>
                </c:pt>
                <c:pt idx="1">
                  <c:v>0.33470774550809257</c:v>
                </c:pt>
                <c:pt idx="2">
                  <c:v>5.4019189408495177E-2</c:v>
                </c:pt>
                <c:pt idx="3">
                  <c:v>0.33820246051303315</c:v>
                </c:pt>
                <c:pt idx="4">
                  <c:v>9.31526240461754E-2</c:v>
                </c:pt>
                <c:pt idx="5">
                  <c:v>1.118675691444912E-2</c:v>
                </c:pt>
                <c:pt idx="6">
                  <c:v>3.4768335766204958E-2</c:v>
                </c:pt>
                <c:pt idx="7">
                  <c:v>4.3750725765143465E-3</c:v>
                </c:pt>
                <c:pt idx="8">
                  <c:v>1.7630838980943812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49D3-4A7D-8162-7E4FCCA43B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나눔바른고딕" panose="020B0603020101020101" pitchFamily="50" charset="-127"/>
          <a:ea typeface="나눔바른고딕" panose="020B0603020101020101" pitchFamily="50" charset="-127"/>
        </a:defRPr>
      </a:pPr>
      <a:endParaRPr lang="ko-K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ysClr val="windowText" lastClr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defRPr>
            </a:pPr>
            <a:r>
              <a:rPr lang="ko-KR"/>
              <a:t>분기별 가동률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ysClr val="windowText" lastClr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defRPr>
          </a:pPr>
          <a:endParaRPr lang="ko-KR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  <a:effectLst/>
          </c:spPr>
          <c:invertIfNegative val="0"/>
          <c:cat>
            <c:strRef>
              <c:f>Sheet16!$A$23:$A$45</c:f>
              <c:strCache>
                <c:ptCount val="23"/>
                <c:pt idx="0">
                  <c:v>2011-1</c:v>
                </c:pt>
                <c:pt idx="1">
                  <c:v>2011-2</c:v>
                </c:pt>
                <c:pt idx="2">
                  <c:v>2011-3</c:v>
                </c:pt>
                <c:pt idx="3">
                  <c:v>2011-4</c:v>
                </c:pt>
                <c:pt idx="4">
                  <c:v>2012-1</c:v>
                </c:pt>
                <c:pt idx="5">
                  <c:v>2012-2</c:v>
                </c:pt>
                <c:pt idx="6">
                  <c:v>2012-3</c:v>
                </c:pt>
                <c:pt idx="7">
                  <c:v>2012-4</c:v>
                </c:pt>
                <c:pt idx="8">
                  <c:v>2013-1</c:v>
                </c:pt>
                <c:pt idx="9">
                  <c:v>2013-2</c:v>
                </c:pt>
                <c:pt idx="10">
                  <c:v>2013-3</c:v>
                </c:pt>
                <c:pt idx="11">
                  <c:v>2013-4</c:v>
                </c:pt>
                <c:pt idx="12">
                  <c:v>2014-1</c:v>
                </c:pt>
                <c:pt idx="13">
                  <c:v>2014-2</c:v>
                </c:pt>
                <c:pt idx="14">
                  <c:v>2014-3</c:v>
                </c:pt>
                <c:pt idx="15">
                  <c:v>2014-4</c:v>
                </c:pt>
                <c:pt idx="16">
                  <c:v>2015-1</c:v>
                </c:pt>
                <c:pt idx="17">
                  <c:v>2015-2</c:v>
                </c:pt>
                <c:pt idx="18">
                  <c:v>2015-3</c:v>
                </c:pt>
                <c:pt idx="19">
                  <c:v>2015-4</c:v>
                </c:pt>
                <c:pt idx="20">
                  <c:v>2016-1</c:v>
                </c:pt>
                <c:pt idx="21">
                  <c:v>2016-2</c:v>
                </c:pt>
                <c:pt idx="22">
                  <c:v>2016-3</c:v>
                </c:pt>
              </c:strCache>
            </c:strRef>
          </c:cat>
          <c:val>
            <c:numRef>
              <c:f>Sheet16!$B$23:$B$45</c:f>
              <c:numCache>
                <c:formatCode>0.00%</c:formatCode>
                <c:ptCount val="23"/>
                <c:pt idx="0">
                  <c:v>0.71956220135738935</c:v>
                </c:pt>
                <c:pt idx="1">
                  <c:v>0.71829661670919309</c:v>
                </c:pt>
                <c:pt idx="2">
                  <c:v>0.73223337945815969</c:v>
                </c:pt>
                <c:pt idx="3">
                  <c:v>0.77283538766994886</c:v>
                </c:pt>
                <c:pt idx="4">
                  <c:v>0.76549881845268675</c:v>
                </c:pt>
                <c:pt idx="5">
                  <c:v>0.77408637198020958</c:v>
                </c:pt>
                <c:pt idx="6">
                  <c:v>0.7475524796566011</c:v>
                </c:pt>
                <c:pt idx="7">
                  <c:v>0.74583488109257312</c:v>
                </c:pt>
                <c:pt idx="8">
                  <c:v>0.76492479053333728</c:v>
                </c:pt>
                <c:pt idx="9">
                  <c:v>0.74785933652752035</c:v>
                </c:pt>
                <c:pt idx="10">
                  <c:v>0.74384111946941434</c:v>
                </c:pt>
                <c:pt idx="11">
                  <c:v>0.75626344065594198</c:v>
                </c:pt>
                <c:pt idx="12">
                  <c:v>0.75990492352083461</c:v>
                </c:pt>
                <c:pt idx="13">
                  <c:v>0.84417434391849044</c:v>
                </c:pt>
                <c:pt idx="14">
                  <c:v>0.75603843022195383</c:v>
                </c:pt>
                <c:pt idx="15">
                  <c:v>0.7425874624217168</c:v>
                </c:pt>
                <c:pt idx="16">
                  <c:v>0.74412206234432565</c:v>
                </c:pt>
                <c:pt idx="17">
                  <c:v>0.73857420151755782</c:v>
                </c:pt>
                <c:pt idx="18">
                  <c:v>0.7234798905704285</c:v>
                </c:pt>
                <c:pt idx="19">
                  <c:v>0.76085577484722045</c:v>
                </c:pt>
                <c:pt idx="20">
                  <c:v>0.75855667019265782</c:v>
                </c:pt>
                <c:pt idx="21">
                  <c:v>0.70976652975025067</c:v>
                </c:pt>
                <c:pt idx="22">
                  <c:v>0.727003083434631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83F-4570-98A3-15A679C65D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34004864"/>
        <c:axId val="234005256"/>
      </c:barChart>
      <c:catAx>
        <c:axId val="234004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defRPr>
            </a:pPr>
            <a:endParaRPr lang="ko-KR"/>
          </a:p>
        </c:txPr>
        <c:crossAx val="234005256"/>
        <c:crosses val="autoZero"/>
        <c:auto val="1"/>
        <c:lblAlgn val="ctr"/>
        <c:lblOffset val="100"/>
        <c:noMultiLvlLbl val="0"/>
      </c:catAx>
      <c:valAx>
        <c:axId val="234005256"/>
        <c:scaling>
          <c:orientation val="minMax"/>
          <c:max val="0.85000000000000009"/>
        </c:scaling>
        <c:delete val="0"/>
        <c:axPos val="b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defRPr>
            </a:pPr>
            <a:endParaRPr lang="ko-KR"/>
          </a:p>
        </c:txPr>
        <c:crossAx val="234004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  <a:latin typeface="나눔바른고딕" panose="020B0603020101020101" pitchFamily="50" charset="-127"/>
          <a:ea typeface="나눔바른고딕" panose="020B0603020101020101" pitchFamily="50" charset="-127"/>
        </a:defRPr>
      </a:pPr>
      <a:endParaRPr lang="ko-K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ko-KR" sz="1000" dirty="0"/>
              <a:t>현대상선 </a:t>
            </a:r>
            <a:r>
              <a:rPr lang="en-US" sz="1000" dirty="0"/>
              <a:t>2003-1Q~2016-3Q </a:t>
            </a:r>
            <a:r>
              <a:rPr lang="ko-KR" sz="1000" dirty="0"/>
              <a:t>운임 추이</a:t>
            </a:r>
            <a:r>
              <a:rPr lang="en-US" sz="1000" dirty="0"/>
              <a:t>(</a:t>
            </a:r>
            <a:r>
              <a:rPr lang="ko-KR" sz="1000" dirty="0"/>
              <a:t>원</a:t>
            </a:r>
            <a:r>
              <a:rPr lang="en-US" sz="1000" dirty="0"/>
              <a:t>)</a:t>
            </a:r>
            <a:endParaRPr lang="ko-KR" sz="10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>
        <c:manualLayout>
          <c:layoutTarget val="inner"/>
          <c:xMode val="edge"/>
          <c:yMode val="edge"/>
          <c:x val="4.0667801988268346E-2"/>
          <c:y val="0.19280235215347219"/>
          <c:w val="0.91866439602346328"/>
          <c:h val="0.70244724878583664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9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1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1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1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1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1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17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18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0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2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2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2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2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2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2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5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2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6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27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7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28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8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29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9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3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A-8C84-4CC1-8CA1-D4E64957863A}"/>
                </c:ext>
                <c:ext xmlns:c15="http://schemas.microsoft.com/office/drawing/2012/chart" uri="{CE6537A1-D6FC-4f65-9D91-7224C49458BB}"/>
              </c:extLst>
            </c:dLbl>
            <c:dLbl>
              <c:idx val="3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B-8C84-4CC1-8CA1-D4E64957863A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raw data'!$BJ$66:$BJ$100</c:f>
              <c:numCache>
                <c:formatCode>_(* #,##0.00_);_(* \(#,##0.00\);_(* "-"??_);_(@_)</c:formatCode>
                <c:ptCount val="35"/>
                <c:pt idx="0">
                  <c:v>1530874.3333333335</c:v>
                </c:pt>
                <c:pt idx="1">
                  <c:v>1571051.8</c:v>
                </c:pt>
                <c:pt idx="2">
                  <c:v>1605576</c:v>
                </c:pt>
                <c:pt idx="3">
                  <c:v>1544609.6666666667</c:v>
                </c:pt>
                <c:pt idx="4">
                  <c:v>1453818.3333333333</c:v>
                </c:pt>
                <c:pt idx="5">
                  <c:v>1192811.7</c:v>
                </c:pt>
                <c:pt idx="6">
                  <c:v>1128331</c:v>
                </c:pt>
                <c:pt idx="7">
                  <c:v>1105587</c:v>
                </c:pt>
                <c:pt idx="8">
                  <c:v>1345557.9666666668</c:v>
                </c:pt>
                <c:pt idx="9">
                  <c:v>1485079.7</c:v>
                </c:pt>
                <c:pt idx="10">
                  <c:v>1565671.3333333335</c:v>
                </c:pt>
                <c:pt idx="11">
                  <c:v>1519531.1333333333</c:v>
                </c:pt>
                <c:pt idx="12">
                  <c:v>1407929.2666666666</c:v>
                </c:pt>
                <c:pt idx="13">
                  <c:v>1364601.5999999999</c:v>
                </c:pt>
                <c:pt idx="14">
                  <c:v>1382448.5999999999</c:v>
                </c:pt>
                <c:pt idx="15">
                  <c:v>1396774.6666666667</c:v>
                </c:pt>
                <c:pt idx="16">
                  <c:v>1313610.6666666667</c:v>
                </c:pt>
                <c:pt idx="17">
                  <c:v>1441886.6666666667</c:v>
                </c:pt>
                <c:pt idx="18">
                  <c:v>1440170.6666666667</c:v>
                </c:pt>
                <c:pt idx="19">
                  <c:v>1374459.4000000001</c:v>
                </c:pt>
                <c:pt idx="20">
                  <c:v>1297879.3333333333</c:v>
                </c:pt>
                <c:pt idx="21">
                  <c:v>1346831.5333333334</c:v>
                </c:pt>
                <c:pt idx="22">
                  <c:v>1312252.6666666667</c:v>
                </c:pt>
                <c:pt idx="23">
                  <c:v>1241151.3</c:v>
                </c:pt>
                <c:pt idx="24">
                  <c:v>1209515.2666666668</c:v>
                </c:pt>
                <c:pt idx="25">
                  <c:v>1160651.2000000002</c:v>
                </c:pt>
                <c:pt idx="26">
                  <c:v>1191351.1333333335</c:v>
                </c:pt>
                <c:pt idx="27">
                  <c:v>1262236.3999999999</c:v>
                </c:pt>
                <c:pt idx="28">
                  <c:v>1260034.3333333333</c:v>
                </c:pt>
                <c:pt idx="29">
                  <c:v>1209668.7</c:v>
                </c:pt>
                <c:pt idx="30">
                  <c:v>1251201.9333333333</c:v>
                </c:pt>
                <c:pt idx="31">
                  <c:v>1550245.9999999998</c:v>
                </c:pt>
                <c:pt idx="32">
                  <c:v>1015328.1000000001</c:v>
                </c:pt>
                <c:pt idx="33">
                  <c:v>1250325.2</c:v>
                </c:pt>
                <c:pt idx="34">
                  <c:v>895240.5000000001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C-8C84-4CC1-8CA1-D4E6495786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34007216"/>
        <c:axId val="234007608"/>
      </c:lineChart>
      <c:catAx>
        <c:axId val="234007216"/>
        <c:scaling>
          <c:orientation val="minMax"/>
        </c:scaling>
        <c:delete val="1"/>
        <c:axPos val="b"/>
        <c:majorTickMark val="none"/>
        <c:minorTickMark val="none"/>
        <c:tickLblPos val="nextTo"/>
        <c:crossAx val="234007608"/>
        <c:crosses val="autoZero"/>
        <c:auto val="1"/>
        <c:lblAlgn val="ctr"/>
        <c:lblOffset val="100"/>
        <c:noMultiLvlLbl val="0"/>
      </c:catAx>
      <c:valAx>
        <c:axId val="234007608"/>
        <c:scaling>
          <c:orientation val="minMax"/>
          <c:min val="800000"/>
        </c:scaling>
        <c:delete val="1"/>
        <c:axPos val="l"/>
        <c:numFmt formatCode="_(* #,##0.00_);_(* \(#,##0.00\);_(* &quot;-&quot;??_);_(@_)" sourceLinked="1"/>
        <c:majorTickMark val="none"/>
        <c:minorTickMark val="none"/>
        <c:tickLblPos val="nextTo"/>
        <c:crossAx val="234007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ko-K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defRPr>
            </a:pPr>
            <a:r>
              <a:rPr lang="ko-KR" altLang="en-US" sz="1000">
                <a:solidFill>
                  <a:schemeClr val="tx1"/>
                </a:solidFill>
              </a:rPr>
              <a:t>컨테이너 운임지수</a:t>
            </a:r>
            <a:endParaRPr lang="ko-KR" sz="100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35285630987185701"/>
          <c:y val="0.1786919439189671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0086083213773313E-2"/>
          <c:y val="0.17583213773314205"/>
          <c:w val="0.91625509325681487"/>
          <c:h val="0.65440937350549977"/>
        </c:manualLayout>
      </c:layout>
      <c:lineChart>
        <c:grouping val="standard"/>
        <c:varyColors val="0"/>
        <c:ser>
          <c:idx val="1"/>
          <c:order val="0"/>
          <c:spPr>
            <a:ln>
              <a:solidFill>
                <a:srgbClr val="FF0000"/>
              </a:solidFill>
            </a:ln>
          </c:spPr>
          <c:marker>
            <c:symbol val="none"/>
          </c:marker>
          <c:val>
            <c:numRef>
              <c:f>현대상선운임예측!$K$5:$K$35</c:f>
              <c:numCache>
                <c:formatCode>General</c:formatCode>
                <c:ptCount val="31"/>
                <c:pt idx="0">
                  <c:v>1430404.4577777777</c:v>
                </c:pt>
                <c:pt idx="1">
                  <c:v>1095218.7853333333</c:v>
                </c:pt>
                <c:pt idx="2">
                  <c:v>968130.74333333329</c:v>
                </c:pt>
                <c:pt idx="3">
                  <c:v>1011473.662888889</c:v>
                </c:pt>
                <c:pt idx="4">
                  <c:v>1101412.2863333335</c:v>
                </c:pt>
                <c:pt idx="5">
                  <c:v>1219335.6206666667</c:v>
                </c:pt>
                <c:pt idx="6">
                  <c:v>1383299.1822222222</c:v>
                </c:pt>
                <c:pt idx="7">
                  <c:v>1207622.5746666668</c:v>
                </c:pt>
                <c:pt idx="8">
                  <c:v>1110843.5475555554</c:v>
                </c:pt>
                <c:pt idx="9">
                  <c:v>1039539.6239999998</c:v>
                </c:pt>
                <c:pt idx="10">
                  <c:v>1084967.3639999998</c:v>
                </c:pt>
                <c:pt idx="11">
                  <c:v>980268.79111111118</c:v>
                </c:pt>
                <c:pt idx="12">
                  <c:v>1042074.8955555557</c:v>
                </c:pt>
                <c:pt idx="13">
                  <c:v>1196259.2000000002</c:v>
                </c:pt>
                <c:pt idx="14">
                  <c:v>1267571.4628888892</c:v>
                </c:pt>
                <c:pt idx="15">
                  <c:v>1208882.6413333332</c:v>
                </c:pt>
                <c:pt idx="16">
                  <c:v>1198364.3077777778</c:v>
                </c:pt>
                <c:pt idx="17">
                  <c:v>1229525.2798888891</c:v>
                </c:pt>
                <c:pt idx="18">
                  <c:v>1182284.5160000001</c:v>
                </c:pt>
                <c:pt idx="19">
                  <c:v>1031777.9990000002</c:v>
                </c:pt>
                <c:pt idx="20">
                  <c:v>1067914.0868888891</c:v>
                </c:pt>
                <c:pt idx="21">
                  <c:v>996126.84900000005</c:v>
                </c:pt>
                <c:pt idx="22">
                  <c:v>1004417.0597777779</c:v>
                </c:pt>
                <c:pt idx="23">
                  <c:v>1067637.9820000001</c:v>
                </c:pt>
                <c:pt idx="24">
                  <c:v>1117028.6900000002</c:v>
                </c:pt>
                <c:pt idx="25">
                  <c:v>1024523.1006666668</c:v>
                </c:pt>
                <c:pt idx="26">
                  <c:v>1016217.3264444445</c:v>
                </c:pt>
                <c:pt idx="27">
                  <c:v>939641.89266666642</c:v>
                </c:pt>
                <c:pt idx="28">
                  <c:v>954615.21800000011</c:v>
                </c:pt>
                <c:pt idx="29">
                  <c:v>743798.37733333325</c:v>
                </c:pt>
                <c:pt idx="30">
                  <c:v>647357.1170000000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BA0-4474-925E-8F271353EF08}"/>
            </c:ext>
          </c:extLst>
        </c:ser>
        <c:ser>
          <c:idx val="0"/>
          <c:order val="1"/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val>
            <c:numRef>
              <c:f>현대상선운임예측!$AC$5:$AC$35</c:f>
              <c:numCache>
                <c:formatCode>General</c:formatCode>
                <c:ptCount val="31"/>
                <c:pt idx="0">
                  <c:v>1453818.3333333333</c:v>
                </c:pt>
                <c:pt idx="1">
                  <c:v>1192811.7</c:v>
                </c:pt>
                <c:pt idx="2">
                  <c:v>1128331</c:v>
                </c:pt>
                <c:pt idx="3">
                  <c:v>1105587</c:v>
                </c:pt>
                <c:pt idx="4">
                  <c:v>1345557.9666666668</c:v>
                </c:pt>
                <c:pt idx="5">
                  <c:v>1485079.7</c:v>
                </c:pt>
                <c:pt idx="6">
                  <c:v>1565671.3333333335</c:v>
                </c:pt>
                <c:pt idx="7">
                  <c:v>1519531.1333333333</c:v>
                </c:pt>
                <c:pt idx="8">
                  <c:v>1407929.2666666666</c:v>
                </c:pt>
                <c:pt idx="9">
                  <c:v>1364601.5999999999</c:v>
                </c:pt>
                <c:pt idx="10">
                  <c:v>1382448.5999999999</c:v>
                </c:pt>
                <c:pt idx="11">
                  <c:v>1396774.6666666667</c:v>
                </c:pt>
                <c:pt idx="12">
                  <c:v>1313610.6666666667</c:v>
                </c:pt>
                <c:pt idx="13">
                  <c:v>1441886.6666666667</c:v>
                </c:pt>
                <c:pt idx="14">
                  <c:v>1440170.6666666667</c:v>
                </c:pt>
                <c:pt idx="15">
                  <c:v>1374459.4000000001</c:v>
                </c:pt>
                <c:pt idx="16">
                  <c:v>1297879.3333333333</c:v>
                </c:pt>
                <c:pt idx="17">
                  <c:v>1346831.5333333334</c:v>
                </c:pt>
                <c:pt idx="18">
                  <c:v>1312252.6666666667</c:v>
                </c:pt>
                <c:pt idx="19">
                  <c:v>1241151.3</c:v>
                </c:pt>
                <c:pt idx="20">
                  <c:v>1209515.2666666668</c:v>
                </c:pt>
                <c:pt idx="21">
                  <c:v>1160651.2000000002</c:v>
                </c:pt>
                <c:pt idx="22">
                  <c:v>1191351.1333333335</c:v>
                </c:pt>
                <c:pt idx="23">
                  <c:v>1262236.3999999999</c:v>
                </c:pt>
                <c:pt idx="24">
                  <c:v>1260034.3333333333</c:v>
                </c:pt>
                <c:pt idx="25">
                  <c:v>1209668.7</c:v>
                </c:pt>
                <c:pt idx="26">
                  <c:v>1251201.9333333333</c:v>
                </c:pt>
                <c:pt idx="27">
                  <c:v>1550245.9999999998</c:v>
                </c:pt>
                <c:pt idx="28">
                  <c:v>1015328.1000000001</c:v>
                </c:pt>
                <c:pt idx="29">
                  <c:v>1250325.2</c:v>
                </c:pt>
                <c:pt idx="30">
                  <c:v>895240.5000000001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BA0-4474-925E-8F271353EF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33936200"/>
        <c:axId val="233936592"/>
      </c:lineChart>
      <c:catAx>
        <c:axId val="23393620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defRPr>
            </a:pPr>
            <a:endParaRPr lang="ko-KR"/>
          </a:p>
        </c:txPr>
        <c:crossAx val="233936592"/>
        <c:crosses val="autoZero"/>
        <c:auto val="1"/>
        <c:lblAlgn val="ctr"/>
        <c:lblOffset val="100"/>
        <c:noMultiLvlLbl val="0"/>
      </c:catAx>
      <c:valAx>
        <c:axId val="233936592"/>
        <c:scaling>
          <c:orientation val="minMax"/>
          <c:min val="600000"/>
        </c:scaling>
        <c:delete val="1"/>
        <c:axPos val="l"/>
        <c:numFmt formatCode="General" sourceLinked="1"/>
        <c:majorTickMark val="none"/>
        <c:minorTickMark val="none"/>
        <c:tickLblPos val="nextTo"/>
        <c:crossAx val="2339362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latin typeface="나눔바른고딕" panose="020B0603020101020101" pitchFamily="50" charset="-127"/>
          <a:ea typeface="나눔바른고딕" panose="020B0603020101020101" pitchFamily="50" charset="-127"/>
        </a:defRPr>
      </a:pPr>
      <a:endParaRPr lang="ko-KR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000"/>
              <a:t>CCFI-</a:t>
            </a:r>
            <a:r>
              <a:rPr lang="ko-KR" sz="1000"/>
              <a:t>미서안 운임 추이</a:t>
            </a:r>
            <a:r>
              <a:rPr lang="en-US" sz="1000"/>
              <a:t>(USD/TEU)</a:t>
            </a:r>
            <a:endParaRPr lang="ko-KR" sz="1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ko-KR"/>
        </a:p>
      </c:txPr>
    </c:title>
    <c:autoTitleDeleted val="0"/>
    <c:plotArea>
      <c:layout>
        <c:manualLayout>
          <c:layoutTarget val="inner"/>
          <c:xMode val="edge"/>
          <c:yMode val="edge"/>
          <c:x val="4.0413157274295987E-2"/>
          <c:y val="0.15485587082832508"/>
          <c:w val="0.91917368545140798"/>
          <c:h val="0.60160447273654738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CFI-미주서안 예측'!$E$42:$L$42</c:f>
              <c:strCache>
                <c:ptCount val="8"/>
                <c:pt idx="0">
                  <c:v>9월</c:v>
                </c:pt>
                <c:pt idx="1">
                  <c:v>10월</c:v>
                </c:pt>
                <c:pt idx="2">
                  <c:v>11월</c:v>
                </c:pt>
                <c:pt idx="3">
                  <c:v>43주</c:v>
                </c:pt>
                <c:pt idx="4">
                  <c:v>44주</c:v>
                </c:pt>
                <c:pt idx="5">
                  <c:v>45주</c:v>
                </c:pt>
                <c:pt idx="6">
                  <c:v>46주</c:v>
                </c:pt>
                <c:pt idx="7">
                  <c:v>47주</c:v>
                </c:pt>
              </c:strCache>
            </c:strRef>
          </c:cat>
          <c:val>
            <c:numRef>
              <c:f>'CCFI-미주서안 예측'!$E$43:$L$43</c:f>
              <c:numCache>
                <c:formatCode>General</c:formatCode>
                <c:ptCount val="8"/>
                <c:pt idx="0">
                  <c:v>592.49</c:v>
                </c:pt>
                <c:pt idx="1">
                  <c:v>683.58</c:v>
                </c:pt>
                <c:pt idx="2">
                  <c:v>718.53</c:v>
                </c:pt>
                <c:pt idx="3">
                  <c:v>675.81</c:v>
                </c:pt>
                <c:pt idx="4">
                  <c:v>699.18</c:v>
                </c:pt>
                <c:pt idx="5">
                  <c:v>718.59</c:v>
                </c:pt>
                <c:pt idx="6">
                  <c:v>724.85</c:v>
                </c:pt>
                <c:pt idx="7">
                  <c:v>731.4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290-4D4F-B704-6896C0914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33937376"/>
        <c:axId val="233937768"/>
      </c:lineChart>
      <c:catAx>
        <c:axId val="233937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233937768"/>
        <c:crosses val="autoZero"/>
        <c:auto val="1"/>
        <c:lblAlgn val="ctr"/>
        <c:lblOffset val="100"/>
        <c:noMultiLvlLbl val="0"/>
      </c:catAx>
      <c:valAx>
        <c:axId val="233937768"/>
        <c:scaling>
          <c:orientation val="minMax"/>
          <c:min val="550"/>
        </c:scaling>
        <c:delete val="1"/>
        <c:axPos val="l"/>
        <c:numFmt formatCode="General" sourceLinked="1"/>
        <c:majorTickMark val="none"/>
        <c:minorTickMark val="none"/>
        <c:tickLblPos val="nextTo"/>
        <c:crossAx val="233937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ko-KR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잔차 확인 (2)'!$C$121:$C$175</cx:f>
        <cx:lvl ptCount="55" formatCode="0%">
          <cx:pt idx="0">0.16138810472235152</cx:pt>
          <cx:pt idx="1">0.09478090773715149</cx:pt>
          <cx:pt idx="2">0.086689185306212044</cx:pt>
          <cx:pt idx="3">0.07665045137358148</cx:pt>
          <cx:pt idx="4">0.066534918639832158</cx:pt>
          <cx:pt idx="5">0.056831647158156404</cx:pt>
          <cx:pt idx="6">0.054891425767814951</cx:pt>
          <cx:pt idx="7">0.052737779446728021</cx:pt>
          <cx:pt idx="8">0.051942422155928362</cx:pt>
          <cx:pt idx="9">0.049722849773903365</cx:pt>
          <cx:pt idx="10">0.0481646294858082</cx:pt>
          <cx:pt idx="11">0.047637372954139563</cx:pt>
          <cx:pt idx="12">0.046413443128512116</cx:pt>
          <cx:pt idx="13">0.042569785562920445</cx:pt>
          <cx:pt idx="14">0.039946322522549184</cx:pt>
          <cx:pt idx="15">0.039548153416093523</cx:pt>
          <cx:pt idx="16">0.039160191407846538</cx:pt>
          <cx:pt idx="17">0.037398561711193379</cx:pt>
          <cx:pt idx="18">0.03227744815431479</cx:pt>
          <cx:pt idx="19">0.02916919499844706</cx:pt>
          <cx:pt idx="20">0.025851156809315903</cx:pt>
          <cx:pt idx="21">0.025067110207396891</cx:pt>
          <cx:pt idx="22">0.023915213867844651</cx:pt>
          <cx:pt idx="23">0.0215599578802693</cx:pt>
          <cx:pt idx="24">0.0175253256644387</cx:pt>
          <cx:pt idx="25">0.016757180758109905</cx:pt>
          <cx:pt idx="26">0.014082368874759849</cx:pt>
          <cx:pt idx="27">0.013942080000621561</cx:pt>
          <cx:pt idx="28">0.013748900364871497</cx:pt>
          <cx:pt idx="29">0.013447658677997416</cx:pt>
          <cx:pt idx="30">0.010814129155964072</cx:pt>
          <cx:pt idx="31">0.010515870283936695</cx:pt>
          <cx:pt idx="32">0.0081921364014955981</cx:pt>
          <cx:pt idx="33">0.0060794819773222902</cx:pt>
          <cx:pt idx="34">0.0065889950540530548</cx:pt>
          <cx:pt idx="35">0.010237613891762271</cx:pt>
          <cx:pt idx="36">0.014630848103584219</cx:pt>
          <cx:pt idx="37">0.016828160217880112</cx:pt>
          <cx:pt idx="38">0.022512521855663655</cx:pt>
          <cx:pt idx="39">0.02888044198042574</cx:pt>
          <cx:pt idx="40">0.036249371450466999</cx:pt>
          <cx:pt idx="41">0.045660325057839471</cx:pt>
          <cx:pt idx="42">0.046147447733604366</cx:pt>
          <cx:pt idx="43">0.065112115177124702</cx:pt>
          <cx:pt idx="44">0.068956057537583215</cx:pt>
          <cx:pt idx="45">0.070908078016558601</cx:pt>
          <cx:pt idx="46">0.07495934887953104</cx:pt>
          <cx:pt idx="47">0.075142239880124417</cx:pt>
          <cx:pt idx="48">0.076250903315804794</cx:pt>
          <cx:pt idx="49">0.079731604670656597</cx:pt>
          <cx:pt idx="50">0.094356986650810243</cx:pt>
          <cx:pt idx="51">0.10715476405003077</cx:pt>
          <cx:pt idx="52">0.13885888234218532</cx:pt>
          <cx:pt idx="53">0.17980580696093573</cx:pt>
          <cx:pt idx="54">0.27914243030676106</cx:pt>
        </cx:lvl>
      </cx:numDim>
    </cx:data>
  </cx:chartData>
  <cx:chart>
    <cx:title pos="t" align="ctr" overlay="0">
      <cx:tx>
        <cx:rich>
          <a:bodyPr spcFirstLastPara="1" vertOverflow="ellipsis" wrap="square" lIns="0" tIns="0" rIns="0" bIns="0" anchor="ctr" anchorCtr="1"/>
          <a:lstStyle/>
          <a:p>
            <a:pPr algn="ctr">
              <a:defRPr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나눔바른고딕" panose="020B0603020101020101" pitchFamily="50" charset="-127"/>
              </a:defRPr>
            </a:pPr>
            <a:r>
              <a:rPr lang="ko-KR" altLang="en-US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함수 오차 분포</a:t>
            </a:r>
            <a:endParaRPr lang="ko-KR">
              <a:solidFill>
                <a:schemeClr val="tx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cx:rich>
      </cx:tx>
    </cx:title>
    <cx:plotArea>
      <cx:plotAreaRegion>
        <cx:series layoutId="clusteredColumn" uniqueId="{10BB970C-5295-4C8A-8963-C98021E04E1D}">
          <cx:spPr>
            <a:solidFill>
              <a:srgbClr val="002060"/>
            </a:solidFill>
            <a:ln>
              <a:noFill/>
            </a:ln>
          </cx:spPr>
          <cx:dataLabels>
            <cx:txPr>
              <a:bodyPr spcFirstLastPara="1" vertOverflow="ellipsis" wrap="square" lIns="0" tIns="0" rIns="0" bIns="0" anchor="ctr" anchorCtr="1"/>
              <a:lstStyle/>
              <a:p>
                <a:pPr>
                  <a:defRPr>
                    <a:solidFill>
                      <a:schemeClr val="tx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나눔바른고딕" panose="020B0603020101020101" pitchFamily="50" charset="-127"/>
                  </a:defRPr>
                </a:pPr>
                <a:endParaRPr lang="ko-KR">
                  <a:solidFill>
                    <a:schemeClr val="tx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cx:txPr>
          </cx:dataLabels>
          <cx:dataId val="0"/>
          <cx:layoutPr>
            <cx:binning intervalClosed="r">
              <cx:binSize val="0.044999999999999998"/>
            </cx:binning>
          </cx:layoutPr>
        </cx:series>
      </cx:plotAreaRegion>
      <cx:axis id="0">
        <cx:catScaling gapWidth="1"/>
        <cx:tickLabels/>
        <cx:txPr>
          <a:bodyPr spcFirstLastPara="1" vertOverflow="ellipsis" wrap="square" lIns="0" tIns="0" rIns="0" bIns="0" anchor="ctr" anchorCtr="1"/>
          <a:lstStyle/>
          <a:p>
            <a:pPr>
              <a:defRPr sz="70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나눔바른고딕" panose="020B0603020101020101" pitchFamily="50" charset="-127"/>
              </a:defRPr>
            </a:pPr>
            <a:endParaRPr lang="ko-KR" sz="700">
              <a:solidFill>
                <a:schemeClr val="tx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cx:txPr>
      </cx:axis>
      <cx:axis id="1" hidden="1">
        <cx:valScaling/>
        <cx:tickLabels/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잔차 확인 (2)'!$H$121:$H$175</cx:f>
        <cx:lvl ptCount="55" formatCode="0%">
          <cx:pt idx="0">0.26705201810237855</cx:pt>
          <cx:pt idx="1">0.25884124129835367</cx:pt>
          <cx:pt idx="2">0.1337398922780331</cx:pt>
          <cx:pt idx="3">0.11867878480372213</cx:pt>
          <cx:pt idx="4">0.11302523037431361</cx:pt>
          <cx:pt idx="5">0.1019915056712299</cx:pt>
          <cx:pt idx="6">0.10112902271122325</cx:pt>
          <cx:pt idx="7">0.097680489178778071</cx:pt>
          <cx:pt idx="8">0.093038013175960804</cx:pt>
          <cx:pt idx="9">0.082042429251361529</cx:pt>
          <cx:pt idx="10">0.076537508918245262</cx:pt>
          <cx:pt idx="11">0.075946077658437472</cx:pt>
          <cx:pt idx="12">0.071104479077249788</cx:pt>
          <cx:pt idx="13">0.069660513236834601</cx:pt>
          <cx:pt idx="14">0.059109216377185934</cx:pt>
          <cx:pt idx="15">0.058972294943372451</cx:pt>
          <cx:pt idx="16">0.053818700006651427</cx:pt>
          <cx:pt idx="17">0.045308396709059853</cx:pt>
          <cx:pt idx="18">0.04515118287933706</cx:pt>
          <cx:pt idx="19">0.042946645855450973</cx:pt>
          <cx:pt idx="20">0.03974060653297562</cx:pt>
          <cx:pt idx="21">0.037096200659291589</cx:pt>
          <cx:pt idx="22">0.036831429344691559</cx:pt>
          <cx:pt idx="23">0.02881971131222184</cx:pt>
          <cx:pt idx="24">0.027403023160212241</cx:pt>
          <cx:pt idx="25">0.027157398500176202</cx:pt>
          <cx:pt idx="26">0.023808635324402284</cx:pt>
          <cx:pt idx="27">0.02303982691916397</cx:pt>
          <cx:pt idx="28">0.020195406952936437</cx:pt>
          <cx:pt idx="29">0.018260697615391654</cx:pt>
          <cx:pt idx="30">0.012956603680850528</cx:pt>
          <cx:pt idx="31">0.008265196432886153</cx:pt>
          <cx:pt idx="32">0.0071843885942046888</cx:pt>
          <cx:pt idx="33">0.0060075200182200016</cx:pt>
          <cx:pt idx="34">0.00062874763004385718</cx:pt>
          <cx:pt idx="35">0.0015469491687042866</cx:pt>
          <cx:pt idx="36">0.0049406718238056303</cx:pt>
          <cx:pt idx="37">0.0095717631841269989</cx:pt>
          <cx:pt idx="38">0.013683864876721951</cx:pt>
          <cx:pt idx="39">0.03021962338349941</cx:pt>
          <cx:pt idx="40">0.043218033443866689</cx:pt>
          <cx:pt idx="41">0.049248512843295233</cx:pt>
          <cx:pt idx="42">0.053711671784036984</cx:pt>
          <cx:pt idx="43">0.056554398077811728</cx:pt>
          <cx:pt idx="44">0.077394033410278146</cx:pt>
          <cx:pt idx="45">0.07809102268035821</cx:pt>
          <cx:pt idx="46">0.089790841552175121</cx:pt>
          <cx:pt idx="47">0.094912348825678977</cx:pt>
          <cx:pt idx="48">0.097933233382548793</cx:pt>
          <cx:pt idx="49">0.099157630461537083</cx:pt>
          <cx:pt idx="50">0.10637155369473336</cx:pt>
          <cx:pt idx="51">0.10671217076861234</cx:pt>
          <cx:pt idx="52">0.11129045495407898</cx:pt>
          <cx:pt idx="53">0.22908338009674484</cx:pt>
          <cx:pt idx="54">0.29651130775414131</cx:pt>
        </cx:lvl>
      </cx:numDim>
    </cx:data>
  </cx:chartData>
  <cx:chart>
    <cx:title pos="t" align="ctr" overlay="0">
      <cx:tx>
        <cx:rich>
          <a:bodyPr spcFirstLastPara="1" vertOverflow="ellipsis" wrap="square" lIns="0" tIns="0" rIns="0" bIns="0" anchor="ctr" anchorCtr="1"/>
          <a:lstStyle/>
          <a:p>
            <a:pPr algn="ctr">
              <a:defRPr lang="ko-KR" sz="1400" b="0" i="0" u="none" strike="noStrike" baseline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나눔바른고딕" panose="020B0603020101020101" pitchFamily="50" charset="-127"/>
              </a:defRPr>
            </a:pPr>
            <a:r>
              <a:rPr lang="ko-KR" altLang="en-US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수입함수 오차 분포</a:t>
            </a:r>
            <a:endParaRPr lang="ko-KR">
              <a:solidFill>
                <a:schemeClr val="tx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cx:rich>
      </cx:tx>
    </cx:title>
    <cx:plotArea>
      <cx:plotAreaRegion>
        <cx:series layoutId="clusteredColumn" uniqueId="{4B5753F8-1EAA-4B3C-9612-BC6417C80D36}">
          <cx:spPr>
            <a:solidFill>
              <a:srgbClr val="002060"/>
            </a:solidFill>
            <a:ln>
              <a:noFill/>
            </a:ln>
          </cx:spPr>
          <cx:dataLabels>
            <cx:txPr>
              <a:bodyPr spcFirstLastPara="1" vertOverflow="ellipsis" wrap="square" lIns="0" tIns="0" rIns="0" bIns="0" anchor="ctr" anchorCtr="1"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ko-KR">
                  <a:solidFill>
                    <a:schemeClr val="tx1"/>
                  </a:solidFill>
                </a:endParaRPr>
              </a:p>
            </cx:txPr>
          </cx:dataLabels>
          <cx:dataId val="0"/>
          <cx:layoutPr>
            <cx:binning intervalClosed="r"/>
          </cx:layoutPr>
        </cx:series>
      </cx:plotAreaRegion>
      <cx:axis id="0">
        <cx:catScaling gapWidth="1.70000005"/>
        <cx:tickLabels/>
      </cx:axis>
      <cx:axis id="1" hidden="1">
        <cx:valScaling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0F348-226E-4F19-99F5-E1E98BDB173D}" type="datetimeFigureOut">
              <a:rPr lang="ko-KR" altLang="en-US" smtClean="0"/>
              <a:t>2016-11-2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414583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0F348-226E-4F19-99F5-E1E98BDB173D}" type="datetimeFigureOut">
              <a:rPr lang="ko-KR" altLang="en-US" smtClean="0"/>
              <a:t>2016-11-26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409755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0F348-226E-4F19-99F5-E1E98BDB173D}" type="datetimeFigureOut">
              <a:rPr lang="ko-KR" altLang="en-US" smtClean="0"/>
              <a:t>2016-11-2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046831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0F348-226E-4F19-99F5-E1E98BDB173D}" type="datetimeFigureOut">
              <a:rPr lang="ko-KR" altLang="en-US" smtClean="0"/>
              <a:t>2016-11-2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842789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0F348-226E-4F19-99F5-E1E98BDB173D}" type="datetimeFigureOut">
              <a:rPr lang="ko-KR" altLang="en-US" smtClean="0"/>
              <a:t>2016-11-2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08863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0F348-226E-4F19-99F5-E1E98BDB173D}" type="datetimeFigureOut">
              <a:rPr lang="ko-KR" altLang="en-US" smtClean="0"/>
              <a:t>2016-11-2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66054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0F348-226E-4F19-99F5-E1E98BDB173D}" type="datetimeFigureOut">
              <a:rPr lang="ko-KR" altLang="en-US" smtClean="0"/>
              <a:t>2016-11-26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143938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0F348-226E-4F19-99F5-E1E98BDB173D}" type="datetimeFigureOut">
              <a:rPr lang="ko-KR" altLang="en-US" smtClean="0"/>
              <a:t>2016-11-26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861978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0F348-226E-4F19-99F5-E1E98BDB173D}" type="datetimeFigureOut">
              <a:rPr lang="ko-KR" altLang="en-US" smtClean="0"/>
              <a:t>2016-11-26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170846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864345" y="6225723"/>
            <a:ext cx="2057400" cy="365125"/>
          </a:xfrm>
        </p:spPr>
        <p:txBody>
          <a:bodyPr/>
          <a:lstStyle/>
          <a:p>
            <a:fld id="{49AF6327-394B-4D01-930A-C455326EDDD4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5" name="직사각형 4"/>
          <p:cNvSpPr/>
          <p:nvPr userDrawn="1"/>
        </p:nvSpPr>
        <p:spPr>
          <a:xfrm>
            <a:off x="0" y="6570000"/>
            <a:ext cx="9144000" cy="28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 userDrawn="1"/>
        </p:nvSpPr>
        <p:spPr>
          <a:xfrm>
            <a:off x="0" y="0"/>
            <a:ext cx="9144000" cy="972000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85097" y="6581001"/>
            <a:ext cx="21441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opyright. I.CO</a:t>
            </a:r>
            <a:r>
              <a:rPr lang="en-US" altLang="ko-KR" sz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by </a:t>
            </a:r>
            <a:r>
              <a:rPr lang="en-US" altLang="ko-KR" sz="1200" baseline="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ljdalbong</a:t>
            </a:r>
            <a:endParaRPr lang="ko-KR" altLang="en-US" sz="1200" dirty="0"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13" name="그룹 12"/>
          <p:cNvGrpSpPr/>
          <p:nvPr userDrawn="1"/>
        </p:nvGrpSpPr>
        <p:grpSpPr>
          <a:xfrm>
            <a:off x="380932" y="1495834"/>
            <a:ext cx="288000" cy="282755"/>
            <a:chOff x="1157153" y="1604571"/>
            <a:chExt cx="288000" cy="282755"/>
          </a:xfrm>
        </p:grpSpPr>
        <p:sp>
          <p:nvSpPr>
            <p:cNvPr id="9" name="직사각형 8"/>
            <p:cNvSpPr/>
            <p:nvPr userDrawn="1"/>
          </p:nvSpPr>
          <p:spPr>
            <a:xfrm>
              <a:off x="1157153" y="1604571"/>
              <a:ext cx="288000" cy="82800"/>
            </a:xfrm>
            <a:prstGeom prst="rect">
              <a:avLst/>
            </a:prstGeom>
            <a:solidFill>
              <a:srgbClr val="3438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" name="직사각형 9"/>
            <p:cNvSpPr/>
            <p:nvPr userDrawn="1"/>
          </p:nvSpPr>
          <p:spPr>
            <a:xfrm>
              <a:off x="1157153" y="1704548"/>
              <a:ext cx="288000" cy="82800"/>
            </a:xfrm>
            <a:prstGeom prst="rect">
              <a:avLst/>
            </a:prstGeom>
            <a:solidFill>
              <a:srgbClr val="363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" name="직사각형 10"/>
            <p:cNvSpPr/>
            <p:nvPr userDrawn="1"/>
          </p:nvSpPr>
          <p:spPr>
            <a:xfrm>
              <a:off x="1157153" y="1804526"/>
              <a:ext cx="288000" cy="82800"/>
            </a:xfrm>
            <a:prstGeom prst="rect">
              <a:avLst/>
            </a:prstGeom>
            <a:solidFill>
              <a:srgbClr val="E10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5853443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864345" y="6225723"/>
            <a:ext cx="2057400" cy="365125"/>
          </a:xfrm>
        </p:spPr>
        <p:txBody>
          <a:bodyPr/>
          <a:lstStyle/>
          <a:p>
            <a:fld id="{49AF6327-394B-4D01-930A-C455326EDDD4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5" name="직사각형 4"/>
          <p:cNvSpPr/>
          <p:nvPr userDrawn="1"/>
        </p:nvSpPr>
        <p:spPr>
          <a:xfrm>
            <a:off x="0" y="6570000"/>
            <a:ext cx="9144000" cy="28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 userDrawn="1"/>
        </p:nvSpPr>
        <p:spPr>
          <a:xfrm>
            <a:off x="0" y="950258"/>
            <a:ext cx="9144000" cy="54000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85097" y="6581001"/>
            <a:ext cx="21441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opyright. I.CO</a:t>
            </a:r>
            <a:r>
              <a:rPr lang="en-US" altLang="ko-KR" sz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by </a:t>
            </a:r>
            <a:r>
              <a:rPr lang="en-US" altLang="ko-KR" sz="1200" baseline="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ljdalbong</a:t>
            </a:r>
            <a:endParaRPr lang="ko-KR" altLang="en-US" sz="1200" dirty="0">
              <a:solidFill>
                <a:schemeClr val="tx1">
                  <a:lumMod val="50000"/>
                  <a:lumOff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13" name="그룹 12"/>
          <p:cNvGrpSpPr/>
          <p:nvPr userDrawn="1"/>
        </p:nvGrpSpPr>
        <p:grpSpPr>
          <a:xfrm>
            <a:off x="380932" y="1495834"/>
            <a:ext cx="288000" cy="282755"/>
            <a:chOff x="1157153" y="1604571"/>
            <a:chExt cx="288000" cy="282755"/>
          </a:xfrm>
        </p:grpSpPr>
        <p:sp>
          <p:nvSpPr>
            <p:cNvPr id="9" name="직사각형 8"/>
            <p:cNvSpPr/>
            <p:nvPr userDrawn="1"/>
          </p:nvSpPr>
          <p:spPr>
            <a:xfrm>
              <a:off x="1157153" y="1604571"/>
              <a:ext cx="288000" cy="82800"/>
            </a:xfrm>
            <a:prstGeom prst="rect">
              <a:avLst/>
            </a:prstGeom>
            <a:solidFill>
              <a:srgbClr val="3438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" name="직사각형 9"/>
            <p:cNvSpPr/>
            <p:nvPr userDrawn="1"/>
          </p:nvSpPr>
          <p:spPr>
            <a:xfrm>
              <a:off x="1157153" y="1704548"/>
              <a:ext cx="288000" cy="82800"/>
            </a:xfrm>
            <a:prstGeom prst="rect">
              <a:avLst/>
            </a:prstGeom>
            <a:solidFill>
              <a:srgbClr val="363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" name="직사각형 10"/>
            <p:cNvSpPr/>
            <p:nvPr userDrawn="1"/>
          </p:nvSpPr>
          <p:spPr>
            <a:xfrm>
              <a:off x="1157153" y="1804526"/>
              <a:ext cx="288000" cy="82800"/>
            </a:xfrm>
            <a:prstGeom prst="rect">
              <a:avLst/>
            </a:prstGeom>
            <a:solidFill>
              <a:srgbClr val="E10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2" name="직사각형 11"/>
          <p:cNvSpPr/>
          <p:nvPr userDrawn="1"/>
        </p:nvSpPr>
        <p:spPr>
          <a:xfrm>
            <a:off x="0" y="1027410"/>
            <a:ext cx="5400000" cy="54000"/>
          </a:xfrm>
          <a:prstGeom prst="rect">
            <a:avLst/>
          </a:prstGeom>
          <a:solidFill>
            <a:srgbClr val="E10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/>
          <p:cNvSpPr/>
          <p:nvPr userDrawn="1"/>
        </p:nvSpPr>
        <p:spPr>
          <a:xfrm>
            <a:off x="0" y="1104563"/>
            <a:ext cx="3600000" cy="54000"/>
          </a:xfrm>
          <a:prstGeom prst="rect">
            <a:avLst/>
          </a:prstGeom>
          <a:solidFill>
            <a:srgbClr val="E10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360205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0F348-226E-4F19-99F5-E1E98BDB173D}" type="datetimeFigureOut">
              <a:rPr lang="ko-KR" altLang="en-US" smtClean="0"/>
              <a:t>2016-11-26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039737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00F348-226E-4F19-99F5-E1E98BDB173D}" type="datetimeFigureOut">
              <a:rPr lang="ko-KR" altLang="en-US" smtClean="0"/>
              <a:t>2016-11-2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F6327-394B-4D01-930A-C455326EDDD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80712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72" r:id="rId8"/>
    <p:sldLayoutId id="2147483668" r:id="rId9"/>
    <p:sldLayoutId id="2147483669" r:id="rId10"/>
    <p:sldLayoutId id="2147483670" r:id="rId11"/>
    <p:sldLayoutId id="2147483671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microsoft.com/office/2014/relationships/chartEx" Target="../charts/chartEx2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현대상선에 대한 이미지 검색결과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13" b="4367"/>
          <a:stretch/>
        </p:blipFill>
        <p:spPr bwMode="auto">
          <a:xfrm>
            <a:off x="0" y="14512"/>
            <a:ext cx="9144000" cy="4857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직사각형 3"/>
          <p:cNvSpPr/>
          <p:nvPr/>
        </p:nvSpPr>
        <p:spPr>
          <a:xfrm>
            <a:off x="0" y="14511"/>
            <a:ext cx="9144000" cy="4857751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직사각형 11"/>
          <p:cNvSpPr/>
          <p:nvPr/>
        </p:nvSpPr>
        <p:spPr>
          <a:xfrm>
            <a:off x="7704000" y="3434410"/>
            <a:ext cx="1440000" cy="1440000"/>
          </a:xfrm>
          <a:prstGeom prst="rect">
            <a:avLst/>
          </a:prstGeom>
          <a:solidFill>
            <a:srgbClr val="000C2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직사각형 12"/>
          <p:cNvSpPr/>
          <p:nvPr/>
        </p:nvSpPr>
        <p:spPr>
          <a:xfrm>
            <a:off x="7704000" y="4877025"/>
            <a:ext cx="1440000" cy="1440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직사각형 13"/>
          <p:cNvSpPr/>
          <p:nvPr/>
        </p:nvSpPr>
        <p:spPr>
          <a:xfrm>
            <a:off x="7704000" y="6321788"/>
            <a:ext cx="1440000" cy="1440000"/>
          </a:xfrm>
          <a:prstGeom prst="rect">
            <a:avLst/>
          </a:prstGeom>
          <a:solidFill>
            <a:schemeClr val="accent1">
              <a:lumMod val="20000"/>
              <a:lumOff val="80000"/>
              <a:alpha val="9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/>
          <p:cNvSpPr/>
          <p:nvPr/>
        </p:nvSpPr>
        <p:spPr>
          <a:xfrm>
            <a:off x="6264000" y="4877025"/>
            <a:ext cx="1440000" cy="1440000"/>
          </a:xfrm>
          <a:prstGeom prst="rect">
            <a:avLst/>
          </a:prstGeom>
          <a:solidFill>
            <a:schemeClr val="accent1">
              <a:lumMod val="40000"/>
              <a:lumOff val="60000"/>
              <a:alpha val="9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/>
          <p:cNvSpPr/>
          <p:nvPr/>
        </p:nvSpPr>
        <p:spPr>
          <a:xfrm>
            <a:off x="6264000" y="3434410"/>
            <a:ext cx="1440000" cy="1440000"/>
          </a:xfrm>
          <a:prstGeom prst="rect">
            <a:avLst/>
          </a:prstGeom>
          <a:solidFill>
            <a:srgbClr val="00206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직사각형 16"/>
          <p:cNvSpPr/>
          <p:nvPr/>
        </p:nvSpPr>
        <p:spPr>
          <a:xfrm>
            <a:off x="7704000" y="1991797"/>
            <a:ext cx="1440000" cy="1440000"/>
          </a:xfrm>
          <a:prstGeom prst="rect">
            <a:avLst/>
          </a:prstGeom>
          <a:solidFill>
            <a:srgbClr val="00206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/>
          <p:cNvSpPr txBox="1"/>
          <p:nvPr/>
        </p:nvSpPr>
        <p:spPr>
          <a:xfrm>
            <a:off x="152400" y="3359711"/>
            <a:ext cx="6367769" cy="11264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sz="2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Hyundai Merchant Marine</a:t>
            </a:r>
          </a:p>
          <a:p>
            <a:pPr marL="1440000" lvl="3">
              <a:lnSpc>
                <a:spcPct val="120000"/>
              </a:lnSpc>
            </a:pPr>
            <a:r>
              <a:rPr lang="ko-KR" altLang="en-US" sz="28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사태 대응방향 수립 연구용역</a:t>
            </a:r>
          </a:p>
        </p:txBody>
      </p:sp>
      <p:grpSp>
        <p:nvGrpSpPr>
          <p:cNvPr id="25" name="그룹 24"/>
          <p:cNvGrpSpPr/>
          <p:nvPr/>
        </p:nvGrpSpPr>
        <p:grpSpPr>
          <a:xfrm>
            <a:off x="152400" y="261098"/>
            <a:ext cx="2733697" cy="943840"/>
            <a:chOff x="647700" y="28874"/>
            <a:chExt cx="2733697" cy="943840"/>
          </a:xfrm>
        </p:grpSpPr>
        <p:grpSp>
          <p:nvGrpSpPr>
            <p:cNvPr id="5" name="그룹 4"/>
            <p:cNvGrpSpPr/>
            <p:nvPr/>
          </p:nvGrpSpPr>
          <p:grpSpPr>
            <a:xfrm rot="5400000">
              <a:off x="1623441" y="-198731"/>
              <a:ext cx="782215" cy="1560676"/>
              <a:chOff x="9569901" y="1715801"/>
              <a:chExt cx="2880000" cy="5746176"/>
            </a:xfrm>
          </p:grpSpPr>
          <p:sp>
            <p:nvSpPr>
              <p:cNvPr id="19" name="직사각형 18"/>
              <p:cNvSpPr/>
              <p:nvPr/>
            </p:nvSpPr>
            <p:spPr>
              <a:xfrm>
                <a:off x="11009901" y="3158414"/>
                <a:ext cx="1440000" cy="1440000"/>
              </a:xfrm>
              <a:prstGeom prst="rect">
                <a:avLst/>
              </a:prstGeom>
              <a:solidFill>
                <a:srgbClr val="000C2A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0" name="직사각형 19"/>
              <p:cNvSpPr/>
              <p:nvPr/>
            </p:nvSpPr>
            <p:spPr>
              <a:xfrm>
                <a:off x="11009901" y="4581977"/>
                <a:ext cx="1440000" cy="1440000"/>
              </a:xfrm>
              <a:prstGeom prst="rect">
                <a:avLst/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1" name="직사각형 20"/>
              <p:cNvSpPr/>
              <p:nvPr/>
            </p:nvSpPr>
            <p:spPr>
              <a:xfrm>
                <a:off x="11009901" y="6021977"/>
                <a:ext cx="1440000" cy="14400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  <a:alpha val="9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2" name="직사각형 21"/>
              <p:cNvSpPr/>
              <p:nvPr/>
            </p:nvSpPr>
            <p:spPr>
              <a:xfrm>
                <a:off x="9569901" y="4581977"/>
                <a:ext cx="1440000" cy="1440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  <a:alpha val="9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3" name="직사각형 22"/>
              <p:cNvSpPr/>
              <p:nvPr/>
            </p:nvSpPr>
            <p:spPr>
              <a:xfrm>
                <a:off x="9569901" y="3158414"/>
                <a:ext cx="1440000" cy="1440000"/>
              </a:xfrm>
              <a:prstGeom prst="rect">
                <a:avLst/>
              </a:prstGeom>
              <a:solidFill>
                <a:srgbClr val="00206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4" name="직사각형 23"/>
              <p:cNvSpPr/>
              <p:nvPr/>
            </p:nvSpPr>
            <p:spPr>
              <a:xfrm>
                <a:off x="11009901" y="1715801"/>
                <a:ext cx="1440000" cy="1440000"/>
              </a:xfrm>
              <a:prstGeom prst="rect">
                <a:avLst/>
              </a:prstGeom>
              <a:solidFill>
                <a:srgbClr val="00206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7" name="TextBox 6"/>
            <p:cNvSpPr txBox="1"/>
            <p:nvPr/>
          </p:nvSpPr>
          <p:spPr>
            <a:xfrm>
              <a:off x="647700" y="457188"/>
              <a:ext cx="2733697" cy="5155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b="1" dirty="0">
                  <a:solidFill>
                    <a:schemeClr val="bg1">
                      <a:lumMod val="75000"/>
                    </a:schemeClr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六曹 </a:t>
              </a:r>
              <a:r>
                <a:rPr lang="en-US" altLang="ko-KR" sz="2000" b="1" dirty="0">
                  <a:solidFill>
                    <a:schemeClr val="bg1">
                      <a:lumMod val="75000"/>
                    </a:schemeClr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Consulting Group</a:t>
              </a:r>
              <a:endParaRPr lang="ko-KR" altLang="en-US" sz="2000" b="1" dirty="0">
                <a:solidFill>
                  <a:schemeClr val="bg1">
                    <a:lumMod val="7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11" name="원호 10"/>
            <p:cNvSpPr/>
            <p:nvPr/>
          </p:nvSpPr>
          <p:spPr>
            <a:xfrm>
              <a:off x="978704" y="28874"/>
              <a:ext cx="2071689" cy="914400"/>
            </a:xfrm>
            <a:prstGeom prst="arc">
              <a:avLst>
                <a:gd name="adj1" fmla="val 11482701"/>
                <a:gd name="adj2" fmla="val 21078914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1028" name="Picture 4" descr="관련 이미지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2" t="10779" r="1215" b="10480"/>
          <a:stretch/>
        </p:blipFill>
        <p:spPr bwMode="auto">
          <a:xfrm>
            <a:off x="699812" y="5988180"/>
            <a:ext cx="2049962" cy="447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2517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428623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사태 관련 </a:t>
            </a: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Event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221338" y="81879"/>
            <a:ext cx="167321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2"/>
            </a:pPr>
            <a:r>
              <a:rPr lang="en-US" altLang="ko-KR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History </a:t>
            </a: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1846018" cy="5155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ritical Even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372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1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이후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업의 불황으로 인한 지속적인 영업손실 발생으로 인해 본격적인 하락추세를 보임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10</a:t>
            </a:fld>
            <a:endParaRPr lang="ko-KR" altLang="en-US"/>
          </a:p>
        </p:txBody>
      </p:sp>
      <p:pic>
        <p:nvPicPr>
          <p:cNvPr id="93" name="그림 9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895" y="2748590"/>
            <a:ext cx="7866917" cy="3560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349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428623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사태 관련 </a:t>
            </a: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Event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221338" y="81879"/>
            <a:ext cx="167321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2"/>
            </a:pPr>
            <a:r>
              <a:rPr lang="en-US" altLang="ko-KR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History </a:t>
            </a: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1915909" cy="4975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ritical </a:t>
            </a:r>
            <a:r>
              <a:rPr lang="en-US" altLang="ko-KR" sz="20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Events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6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</a:t>
            </a:r>
            <a:r>
              <a:rPr lang="en-US" altLang="ko-KR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</a:t>
            </a: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월 </a:t>
            </a:r>
            <a:r>
              <a:rPr lang="en-US" altLang="ko-KR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9</a:t>
            </a: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일 부터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조건부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자율협약을 실시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262176" y="2924175"/>
            <a:ext cx="2105332" cy="2130122"/>
            <a:chOff x="262176" y="2924175"/>
            <a:chExt cx="2105332" cy="2130122"/>
          </a:xfrm>
        </p:grpSpPr>
        <p:sp>
          <p:nvSpPr>
            <p:cNvPr id="50" name="TextBox 49"/>
            <p:cNvSpPr txBox="1"/>
            <p:nvPr/>
          </p:nvSpPr>
          <p:spPr>
            <a:xfrm>
              <a:off x="290308" y="2924175"/>
              <a:ext cx="2077200" cy="83445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altLang="ko-KR" sz="1050" b="1" dirty="0">
                  <a:solidFill>
                    <a:srgbClr val="363A94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[2016.01]</a:t>
              </a: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남북관계 악화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, 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급락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법정관리 가능성 회부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 err="1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벌크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전용선 사업부 영업 양도 협의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현대엘리베이터 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330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억 단기 차입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262176" y="3850515"/>
              <a:ext cx="2077200" cy="120378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altLang="ko-KR" sz="1050" b="1" dirty="0">
                  <a:solidFill>
                    <a:srgbClr val="363A94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[2016.02]</a:t>
              </a: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항만터미널사업부 매각 검토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1200" b="1" dirty="0" err="1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벌크</a:t>
              </a:r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전용선</a:t>
              </a:r>
              <a:r>
                <a: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</a:t>
              </a:r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사업부 영업 양도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50%</a:t>
              </a:r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이상 자본잠식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현대증권 매각 추진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현정은 회장 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300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억 출자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유상증자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)</a:t>
              </a:r>
            </a:p>
            <a:p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용선료 인하 협상 시작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grpSp>
        <p:nvGrpSpPr>
          <p:cNvPr id="13" name="그룹 12"/>
          <p:cNvGrpSpPr/>
          <p:nvPr/>
        </p:nvGrpSpPr>
        <p:grpSpPr>
          <a:xfrm>
            <a:off x="6855043" y="2924175"/>
            <a:ext cx="2083319" cy="3726061"/>
            <a:chOff x="6855043" y="2924175"/>
            <a:chExt cx="2083319" cy="3726061"/>
          </a:xfrm>
        </p:grpSpPr>
        <p:sp>
          <p:nvSpPr>
            <p:cNvPr id="58" name="TextBox 57"/>
            <p:cNvSpPr txBox="1"/>
            <p:nvPr/>
          </p:nvSpPr>
          <p:spPr>
            <a:xfrm>
              <a:off x="6861162" y="2924175"/>
              <a:ext cx="2077200" cy="834450"/>
            </a:xfrm>
            <a:prstGeom prst="rect">
              <a:avLst/>
            </a:prstGeom>
            <a:solidFill>
              <a:srgbClr val="F2F2F2"/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altLang="ko-KR" sz="1050" b="1" dirty="0">
                  <a:solidFill>
                    <a:srgbClr val="00206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[2016.08]</a:t>
              </a: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한진해운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&amp;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현대상선 </a:t>
              </a:r>
              <a:r>
                <a:rPr lang="ko-KR" altLang="en-US" sz="900" dirty="0" err="1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합병론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한진해운 법정관리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 err="1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오버행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대량매도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) 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위험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2,000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억원 전환사채 발행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6861162" y="3842218"/>
              <a:ext cx="2077200" cy="8806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altLang="ko-KR" sz="1050" b="1" dirty="0">
                  <a:solidFill>
                    <a:srgbClr val="363A94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[2016.09]</a:t>
              </a:r>
            </a:p>
            <a:p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유창근 </a:t>
              </a:r>
              <a:r>
                <a: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CEO </a:t>
              </a:r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취임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 err="1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머스크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인수 루머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한진해운 자산 흡수 본격화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한진해운 대체 선박 투입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861162" y="4806428"/>
              <a:ext cx="2077200" cy="8806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altLang="ko-KR" sz="1050" b="1" dirty="0">
                  <a:solidFill>
                    <a:srgbClr val="363A94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[2016.10]</a:t>
              </a: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유조선 사업부 매각 취소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미주노선 한진해운 대체선박 정기서비스로 전환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한진해운 미주라인 인수의향서 제출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grpSp>
          <p:nvGrpSpPr>
            <p:cNvPr id="12" name="그룹 11"/>
            <p:cNvGrpSpPr/>
            <p:nvPr/>
          </p:nvGrpSpPr>
          <p:grpSpPr>
            <a:xfrm>
              <a:off x="6855043" y="5770639"/>
              <a:ext cx="2077200" cy="879597"/>
              <a:chOff x="6855043" y="5770639"/>
              <a:chExt cx="2077200" cy="879597"/>
            </a:xfrm>
          </p:grpSpPr>
          <p:sp>
            <p:nvSpPr>
              <p:cNvPr id="61" name="TextBox 60"/>
              <p:cNvSpPr txBox="1"/>
              <p:nvPr/>
            </p:nvSpPr>
            <p:spPr>
              <a:xfrm>
                <a:off x="6855043" y="5770639"/>
                <a:ext cx="2077200" cy="41895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36000" tIns="36000" rIns="36000" bIns="36000" rtlCol="0">
                <a:spAutoFit/>
              </a:bodyPr>
              <a:lstStyle/>
              <a:p>
                <a:r>
                  <a:rPr lang="en-US" altLang="ko-KR" sz="1050" b="1" dirty="0">
                    <a:solidFill>
                      <a:srgbClr val="00206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[2016.11.14</a:t>
                </a:r>
                <a:r>
                  <a:rPr lang="en-US" altLang="ko-KR" sz="1050" b="1" dirty="0">
                    <a:solidFill>
                      <a:srgbClr val="363A94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]</a:t>
                </a:r>
              </a:p>
              <a:p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한진해운 미주라인 입찰 실패</a:t>
                </a:r>
                <a:endPara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6855043" y="6138951"/>
                <a:ext cx="2077200" cy="51128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36000" tIns="36000" rIns="36000" bIns="36000" rtlCol="0">
                <a:spAutoFit/>
              </a:bodyPr>
              <a:lstStyle/>
              <a:p>
                <a:r>
                  <a:rPr lang="en-US" altLang="ko-KR" sz="1050" b="1" dirty="0">
                    <a:solidFill>
                      <a:srgbClr val="00206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[2016.11.21]</a:t>
                </a:r>
              </a:p>
              <a:p>
                <a:r>
                  <a:rPr lang="en-US" altLang="ko-KR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2M </a:t>
                </a:r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루머</a:t>
                </a:r>
                <a:endPara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부산항만 </a:t>
                </a:r>
                <a:r>
                  <a:rPr lang="ko-KR" altLang="en-US" sz="900" dirty="0" err="1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환적</a:t>
                </a:r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 화물 감소</a:t>
                </a:r>
                <a:endPara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</p:grpSp>
      </p:grpSp>
      <p:sp>
        <p:nvSpPr>
          <p:cNvPr id="19" name="TextBox 18"/>
          <p:cNvSpPr txBox="1"/>
          <p:nvPr/>
        </p:nvSpPr>
        <p:spPr>
          <a:xfrm>
            <a:off x="8313343" y="2373682"/>
            <a:ext cx="7280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6,950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원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76936" y="2373682"/>
            <a:ext cx="8178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8,000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원</a:t>
            </a:r>
          </a:p>
        </p:txBody>
      </p:sp>
      <p:cxnSp>
        <p:nvCxnSpPr>
          <p:cNvPr id="3" name="직선 연결선 2"/>
          <p:cNvCxnSpPr>
            <a:stCxn id="21" idx="2"/>
            <a:endCxn id="19" idx="2"/>
          </p:cNvCxnSpPr>
          <p:nvPr/>
        </p:nvCxnSpPr>
        <p:spPr>
          <a:xfrm>
            <a:off x="585863" y="2650681"/>
            <a:ext cx="809152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연결선 5"/>
          <p:cNvCxnSpPr/>
          <p:nvPr/>
        </p:nvCxnSpPr>
        <p:spPr>
          <a:xfrm>
            <a:off x="586817" y="2567824"/>
            <a:ext cx="0" cy="1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직선 연결선 25"/>
          <p:cNvCxnSpPr/>
          <p:nvPr/>
        </p:nvCxnSpPr>
        <p:spPr>
          <a:xfrm>
            <a:off x="8676876" y="2567824"/>
            <a:ext cx="0" cy="1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연결선 26"/>
          <p:cNvCxnSpPr/>
          <p:nvPr/>
        </p:nvCxnSpPr>
        <p:spPr>
          <a:xfrm>
            <a:off x="2426041" y="2567824"/>
            <a:ext cx="0" cy="3960000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33"/>
          <p:cNvCxnSpPr/>
          <p:nvPr/>
        </p:nvCxnSpPr>
        <p:spPr>
          <a:xfrm>
            <a:off x="6782141" y="2567823"/>
            <a:ext cx="0" cy="3960000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648814" y="2373682"/>
            <a:ext cx="15776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,000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원 방어선 붕괴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996715" y="2373682"/>
            <a:ext cx="15776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0,000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원 방어선 붕괴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11</a:t>
            </a:fld>
            <a:endParaRPr lang="ko-KR" altLang="en-US"/>
          </a:p>
        </p:txBody>
      </p:sp>
      <p:grpSp>
        <p:nvGrpSpPr>
          <p:cNvPr id="2" name="그룹 1"/>
          <p:cNvGrpSpPr/>
          <p:nvPr/>
        </p:nvGrpSpPr>
        <p:grpSpPr>
          <a:xfrm>
            <a:off x="2502882" y="2924175"/>
            <a:ext cx="4216787" cy="3575050"/>
            <a:chOff x="2502882" y="2924175"/>
            <a:chExt cx="4216787" cy="3575050"/>
          </a:xfrm>
        </p:grpSpPr>
        <p:grpSp>
          <p:nvGrpSpPr>
            <p:cNvPr id="9" name="그룹 8"/>
            <p:cNvGrpSpPr/>
            <p:nvPr/>
          </p:nvGrpSpPr>
          <p:grpSpPr>
            <a:xfrm>
              <a:off x="4642469" y="2924175"/>
              <a:ext cx="2077200" cy="3192337"/>
              <a:chOff x="4588456" y="2924175"/>
              <a:chExt cx="2077200" cy="3192337"/>
            </a:xfrm>
          </p:grpSpPr>
          <p:sp>
            <p:nvSpPr>
              <p:cNvPr id="55" name="TextBox 54"/>
              <p:cNvSpPr txBox="1"/>
              <p:nvPr/>
            </p:nvSpPr>
            <p:spPr>
              <a:xfrm>
                <a:off x="4588456" y="2924175"/>
                <a:ext cx="2077200" cy="1942446"/>
              </a:xfrm>
              <a:prstGeom prst="rect">
                <a:avLst/>
              </a:prstGeom>
              <a:solidFill>
                <a:srgbClr val="FFF2CC"/>
              </a:solidFill>
            </p:spPr>
            <p:txBody>
              <a:bodyPr wrap="square" lIns="36000" tIns="36000" rIns="36000" bIns="36000" rtlCol="0">
                <a:spAutoFit/>
              </a:bodyPr>
              <a:lstStyle/>
              <a:p>
                <a:r>
                  <a:rPr lang="en-US" altLang="ko-KR" sz="1050" b="1" dirty="0">
                    <a:solidFill>
                      <a:srgbClr val="00206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[2016.06] : </a:t>
                </a:r>
                <a:r>
                  <a:rPr lang="ko-KR" altLang="en-US" sz="1050" b="1" dirty="0" err="1">
                    <a:solidFill>
                      <a:srgbClr val="00206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브렉시트</a:t>
                </a:r>
                <a:endParaRPr lang="en-US" altLang="ko-KR" sz="1050" b="1" dirty="0">
                  <a:solidFill>
                    <a:srgbClr val="00206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최대주주 </a:t>
                </a:r>
                <a:r>
                  <a:rPr lang="en-US" altLang="ko-KR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7</a:t>
                </a:r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대</a:t>
                </a:r>
                <a:r>
                  <a:rPr lang="en-US" altLang="ko-KR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1 </a:t>
                </a:r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감자 실시</a:t>
                </a:r>
                <a:r>
                  <a:rPr lang="en-US" altLang="ko-KR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(</a:t>
                </a:r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상장폐지 방지</a:t>
                </a:r>
                <a:r>
                  <a:rPr lang="en-US" altLang="ko-KR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)</a:t>
                </a:r>
              </a:p>
              <a:p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내년 만기 공모사채 재조정 성공</a:t>
                </a:r>
                <a:endPara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r>
                  <a:rPr lang="en-US" altLang="ko-KR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4,000</a:t>
                </a:r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억 규모 사채 출자전환</a:t>
                </a:r>
                <a:endPara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유상증자</a:t>
                </a:r>
                <a:r>
                  <a:rPr lang="en-US" altLang="ko-KR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(2</a:t>
                </a:r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조원규모</a:t>
                </a:r>
                <a:r>
                  <a:rPr lang="en-US" altLang="ko-KR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) </a:t>
                </a:r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결정</a:t>
                </a:r>
                <a:endPara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한진해운</a:t>
                </a:r>
                <a:r>
                  <a:rPr lang="en-US" altLang="ko-KR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/</a:t>
                </a:r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현대상선 합병 가능성 언급</a:t>
                </a:r>
                <a:endPara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용선료 협상 성공 종료</a:t>
                </a:r>
                <a:endPara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r>
                  <a:rPr lang="en-US" altLang="ko-KR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2M</a:t>
                </a:r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가입 가능 논의</a:t>
                </a:r>
                <a:endPara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파나마운하 확장 개통</a:t>
                </a:r>
                <a:endPara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자율협약 한달 연장</a:t>
                </a:r>
                <a:endPara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4588456" y="4958896"/>
                <a:ext cx="2077200" cy="1157616"/>
              </a:xfrm>
              <a:prstGeom prst="rect">
                <a:avLst/>
              </a:prstGeom>
              <a:solidFill>
                <a:srgbClr val="FFF2CC"/>
              </a:solidFill>
            </p:spPr>
            <p:txBody>
              <a:bodyPr wrap="square" lIns="36000" tIns="36000" rIns="36000" bIns="36000" rtlCol="0">
                <a:spAutoFit/>
              </a:bodyPr>
              <a:lstStyle/>
              <a:p>
                <a:r>
                  <a:rPr lang="en-US" altLang="ko-KR" sz="1050" b="1" dirty="0">
                    <a:solidFill>
                      <a:srgbClr val="363A94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[2016.07]</a:t>
                </a:r>
              </a:p>
              <a:p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중동항로</a:t>
                </a:r>
                <a:r>
                  <a:rPr lang="en-US" altLang="ko-KR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(1</a:t>
                </a:r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위</a:t>
                </a:r>
                <a:r>
                  <a:rPr lang="en-US" altLang="ko-KR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)</a:t>
                </a:r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 확대 개편</a:t>
                </a:r>
                <a:endPara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r>
                  <a:rPr lang="en-US" altLang="ko-KR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1</a:t>
                </a:r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만</a:t>
                </a:r>
                <a:r>
                  <a:rPr lang="en-US" altLang="ko-KR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TEU </a:t>
                </a:r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선박 </a:t>
                </a:r>
                <a:r>
                  <a:rPr lang="en-US" altLang="ko-KR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6</a:t>
                </a:r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척 인수</a:t>
                </a:r>
                <a:endPara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터미널 사업 강화</a:t>
                </a:r>
                <a:r>
                  <a:rPr lang="en-US" altLang="ko-KR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(</a:t>
                </a:r>
                <a:r>
                  <a:rPr lang="ko-KR" altLang="en-US" sz="900" dirty="0" err="1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겐트리</a:t>
                </a:r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 크레인</a:t>
                </a:r>
                <a:r>
                  <a:rPr lang="en-US" altLang="ko-KR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)</a:t>
                </a:r>
              </a:p>
              <a:p>
                <a:r>
                  <a:rPr lang="ko-KR" altLang="en-US" sz="90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유상증자 실시</a:t>
                </a:r>
                <a:endPara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r>
                  <a:rPr lang="en-US" altLang="ko-KR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2M </a:t>
                </a:r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해운동맹 가입 확정</a:t>
                </a:r>
                <a:endPara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  <a:p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최대주주</a:t>
                </a:r>
                <a:r>
                  <a:rPr lang="en-US" altLang="ko-KR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 </a:t>
                </a:r>
                <a:r>
                  <a:rPr lang="ko-KR" altLang="en-US" sz="1200" b="1" dirty="0">
                    <a:solidFill>
                      <a:srgbClr val="C00000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산업은행으로 변경</a:t>
                </a:r>
                <a:endPara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2502882" y="2924175"/>
              <a:ext cx="2077200" cy="880617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altLang="ko-KR" sz="1050" b="1" dirty="0">
                  <a:solidFill>
                    <a:srgbClr val="00206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[2016.03]</a:t>
              </a: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유조선 사업부 매각 검토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실시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X)</a:t>
              </a:r>
            </a:p>
            <a:p>
              <a:r>
                <a:rPr lang="ko-KR" altLang="en-US" sz="900" dirty="0" err="1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부산신항만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매각 협의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현대증권 매각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조건부 자율협약 시작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502882" y="3876060"/>
              <a:ext cx="2077200" cy="1342281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altLang="ko-KR" sz="1050" b="1" dirty="0">
                  <a:solidFill>
                    <a:srgbClr val="363A94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[2016.04]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대주주 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7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대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1 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무상감자 결정 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상장폐지 방지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)</a:t>
              </a:r>
            </a:p>
            <a:p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신용등급</a:t>
              </a:r>
              <a:r>
                <a: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D</a:t>
              </a:r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하향</a:t>
              </a:r>
              <a:r>
                <a: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8100</a:t>
              </a:r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억원 사채원리금 미지급</a:t>
              </a:r>
              <a:r>
                <a: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)</a:t>
              </a:r>
            </a:p>
            <a:p>
              <a:r>
                <a: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2M</a:t>
              </a:r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과 </a:t>
              </a:r>
              <a:r>
                <a:rPr lang="en-US" altLang="ko-KR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MOU </a:t>
              </a:r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체결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단기 유동성 확보를 위한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2,200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억원 단기 차입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자율협약 가능성 제시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502882" y="5295443"/>
              <a:ext cx="2077200" cy="120378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altLang="ko-KR" sz="1050" b="1" dirty="0">
                  <a:solidFill>
                    <a:srgbClr val="363A94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[2016.05]</a:t>
              </a:r>
            </a:p>
            <a:p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자율협약 개시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현대종합연수원 지분 처분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1200" b="1" dirty="0" err="1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부산신항만</a:t>
              </a:r>
              <a:r>
                <a:rPr lang="ko-KR" altLang="en-US" sz="1200" b="1" dirty="0">
                  <a:solidFill>
                    <a:srgbClr val="C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지분 매각</a:t>
              </a:r>
              <a:endPara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한진해운 </a:t>
              </a:r>
              <a:r>
                <a:rPr lang="en-US" altLang="ko-KR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THE Alliance </a:t>
              </a:r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가입 결정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용선료 협상 난항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r>
                <a:rPr lang="ko-KR" altLang="en-US" sz="900" dirty="0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용선료 재협상 기대</a:t>
              </a:r>
              <a:endParaRPr lang="en-US" altLang="ko-KR" sz="9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203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19" grpId="0"/>
      <p:bldP spid="21" grpId="0"/>
      <p:bldP spid="36" grpId="0"/>
      <p:bldP spid="38" grpId="0"/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328647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전략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221338" y="81879"/>
            <a:ext cx="167321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2"/>
            </a:pPr>
            <a:r>
              <a:rPr lang="en-US" altLang="ko-KR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History </a:t>
            </a: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65897" y="1351125"/>
            <a:ext cx="184698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전략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9" name="Rectangle 5"/>
          <p:cNvSpPr>
            <a:spLocks noChangeArrowheads="1"/>
          </p:cNvSpPr>
          <p:nvPr/>
        </p:nvSpPr>
        <p:spPr bwMode="auto">
          <a:xfrm>
            <a:off x="684213" y="2925247"/>
            <a:ext cx="808258" cy="3385091"/>
          </a:xfrm>
          <a:prstGeom prst="rect">
            <a:avLst/>
          </a:prstGeom>
          <a:solidFill>
            <a:srgbClr val="363A94"/>
          </a:solidFill>
          <a:ln w="9525" algn="ctr">
            <a:solidFill>
              <a:sysClr val="window" lastClr="FFFFFF">
                <a:lumMod val="65000"/>
              </a:sysClr>
            </a:solidFill>
            <a:round/>
            <a:headEnd/>
            <a:tailEnd/>
          </a:ln>
          <a:effectLst/>
        </p:spPr>
        <p:txBody>
          <a:bodyPr lIns="46800" rIns="46800" anchor="ctr"/>
          <a:lstStyle/>
          <a:p>
            <a:pPr marL="0" marR="0" lvl="0" indent="0" algn="ctr" defTabSz="91440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/>
              </a:rPr>
              <a:t>2016</a:t>
            </a:r>
            <a:r>
              <a:rPr kumimoji="0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/>
              </a:rPr>
              <a:t>년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/>
            </a:endParaRPr>
          </a:p>
          <a:p>
            <a:pPr marL="0" marR="0" lvl="0" indent="0" algn="ctr" defTabSz="91440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b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/>
              </a:rPr>
              <a:t>현대상선</a:t>
            </a:r>
            <a:endParaRPr lang="en-US" altLang="ko-KR" sz="1400" b="1" kern="0" dirty="0">
              <a:solidFill>
                <a:srgbClr val="FFFFFF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/>
            </a:endParaRPr>
          </a:p>
          <a:p>
            <a:pPr marL="0" marR="0" lvl="0" indent="0" algn="ctr" defTabSz="91440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/>
              </a:rPr>
              <a:t>정상화 전략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/>
            </a:endParaRPr>
          </a:p>
        </p:txBody>
      </p:sp>
      <p:cxnSp>
        <p:nvCxnSpPr>
          <p:cNvPr id="20" name="Straight Connector 8"/>
          <p:cNvCxnSpPr/>
          <p:nvPr/>
        </p:nvCxnSpPr>
        <p:spPr>
          <a:xfrm>
            <a:off x="2806964" y="4468454"/>
            <a:ext cx="5766936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sp>
        <p:nvSpPr>
          <p:cNvPr id="21" name="Rectangle 30"/>
          <p:cNvSpPr>
            <a:spLocks noChangeArrowheads="1"/>
          </p:cNvSpPr>
          <p:nvPr/>
        </p:nvSpPr>
        <p:spPr bwMode="auto">
          <a:xfrm>
            <a:off x="1599655" y="4212092"/>
            <a:ext cx="971308" cy="981786"/>
          </a:xfrm>
          <a:prstGeom prst="rect">
            <a:avLst/>
          </a:prstGeom>
          <a:solidFill>
            <a:srgbClr val="83C2E5">
              <a:lumMod val="20000"/>
              <a:lumOff val="80000"/>
            </a:srgbClr>
          </a:solidFill>
          <a:ln w="19050" algn="ctr">
            <a:solidFill>
              <a:srgbClr val="363A94"/>
            </a:solidFill>
            <a:round/>
            <a:headEnd/>
            <a:tailEnd/>
          </a:ln>
          <a:effectLst/>
        </p:spPr>
        <p:txBody>
          <a:bodyPr lIns="46800" rIns="46800" anchor="ctr"/>
          <a:lstStyle/>
          <a:p>
            <a:pPr algn="ctr" defTabSz="914400" eaLnBrk="0" hangingPunct="0"/>
            <a:r>
              <a:rPr lang="ko-KR" altLang="en-US" sz="1200" b="1" kern="0" dirty="0" smtClean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/>
              </a:rPr>
              <a:t>재무상태 </a:t>
            </a:r>
            <a:endParaRPr lang="en-US" altLang="ko-KR" sz="1200" b="1" kern="0" dirty="0" smtClean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/>
            </a:endParaRPr>
          </a:p>
          <a:p>
            <a:pPr algn="ctr" defTabSz="914400" eaLnBrk="0" hangingPunct="0"/>
            <a:r>
              <a:rPr lang="ko-KR" altLang="en-US" sz="1200" b="1" kern="0" dirty="0" smtClean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/>
              </a:rPr>
              <a:t>개선</a:t>
            </a:r>
            <a:endParaRPr lang="en-US" altLang="ko-KR" sz="12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/>
            </a:endParaRP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1599655" y="5384288"/>
            <a:ext cx="971308" cy="683308"/>
          </a:xfrm>
          <a:prstGeom prst="rect">
            <a:avLst/>
          </a:prstGeom>
          <a:solidFill>
            <a:srgbClr val="83C2E5">
              <a:lumMod val="20000"/>
              <a:lumOff val="80000"/>
            </a:srgbClr>
          </a:solidFill>
          <a:ln w="19050" algn="ctr">
            <a:solidFill>
              <a:srgbClr val="363A94"/>
            </a:solidFill>
            <a:round/>
            <a:headEnd/>
            <a:tailEnd/>
          </a:ln>
          <a:effectLst/>
        </p:spPr>
        <p:txBody>
          <a:bodyPr lIns="46800" rIns="46800" anchor="ctr"/>
          <a:lstStyle/>
          <a:p>
            <a:pPr algn="ctr" defTabSz="914400" eaLnBrk="0" hangingPunct="0"/>
            <a:r>
              <a:rPr lang="ko-KR" altLang="en-US" sz="1200" b="1" kern="0" dirty="0" smtClean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/>
              </a:rPr>
              <a:t>용선료 인하 </a:t>
            </a:r>
            <a:endParaRPr lang="en-US" altLang="ko-KR" sz="1200" b="1" kern="0" dirty="0" smtClean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/>
            </a:endParaRPr>
          </a:p>
          <a:p>
            <a:pPr algn="ctr" defTabSz="914400" eaLnBrk="0" hangingPunct="0"/>
            <a:r>
              <a:rPr lang="ko-KR" altLang="en-US" sz="1200" b="1" kern="0" dirty="0" smtClean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/>
              </a:rPr>
              <a:t>협상</a:t>
            </a:r>
            <a:endParaRPr lang="en-US" altLang="ko-KR" sz="12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/>
            </a:endParaRPr>
          </a:p>
        </p:txBody>
      </p:sp>
      <p:sp>
        <p:nvSpPr>
          <p:cNvPr id="2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99655" y="2933425"/>
            <a:ext cx="971308" cy="1088257"/>
          </a:xfrm>
          <a:prstGeom prst="rect">
            <a:avLst/>
          </a:prstGeom>
          <a:solidFill>
            <a:srgbClr val="83C2E5">
              <a:lumMod val="20000"/>
              <a:lumOff val="80000"/>
            </a:srgbClr>
          </a:solidFill>
          <a:ln w="19050" algn="ctr">
            <a:solidFill>
              <a:srgbClr val="363A94"/>
            </a:solidFill>
            <a:round/>
            <a:headEnd/>
            <a:tailEnd/>
          </a:ln>
          <a:effectLst/>
        </p:spPr>
        <p:txBody>
          <a:bodyPr lIns="46800" rIns="46800" anchor="ctr"/>
          <a:lstStyle/>
          <a:p>
            <a:pPr algn="ctr" defTabSz="914400" eaLnBrk="0" hangingPunct="0"/>
            <a:r>
              <a:rPr lang="ko-KR" altLang="en-US" sz="1200" b="1" kern="0" dirty="0" smtClean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/>
              </a:rPr>
              <a:t>유동성확보</a:t>
            </a:r>
            <a:endParaRPr lang="en-US" altLang="ko-KR" sz="12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/>
            </a:endParaRPr>
          </a:p>
        </p:txBody>
      </p:sp>
      <p:cxnSp>
        <p:nvCxnSpPr>
          <p:cNvPr id="26" name="Straight Connector 8"/>
          <p:cNvCxnSpPr/>
          <p:nvPr/>
        </p:nvCxnSpPr>
        <p:spPr>
          <a:xfrm>
            <a:off x="2806964" y="5618714"/>
            <a:ext cx="5766936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sp>
        <p:nvSpPr>
          <p:cNvPr id="27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169738" y="2924658"/>
            <a:ext cx="2793094" cy="984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/>
          <a:p>
            <a:pPr defTabSz="914400" latinLnBrk="1">
              <a:lnSpc>
                <a:spcPct val="150000"/>
              </a:lnSpc>
              <a:tabLst>
                <a:tab pos="180975" algn="l"/>
              </a:tabLst>
            </a:pPr>
            <a:endParaRPr kumimoji="1" lang="en-US" altLang="ko-KR" sz="1100" b="1" dirty="0">
              <a:solidFill>
                <a:srgbClr val="C6050A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M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과 </a:t>
            </a: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MOU 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체결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국내 중견선사 </a:t>
            </a: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사와 </a:t>
            </a: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mini 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동맹 체결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defTabSz="914400" latinLnBrk="1">
              <a:lnSpc>
                <a:spcPct val="150000"/>
              </a:lnSpc>
              <a:tabLst>
                <a:tab pos="180975" algn="l"/>
              </a:tabLst>
            </a:pP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8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06241" y="4287773"/>
            <a:ext cx="2329600" cy="984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/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 smtClean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최대주주 </a:t>
            </a: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7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</a:t>
            </a: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 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감자 실시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유상증자</a:t>
            </a: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2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조원</a:t>
            </a: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 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실시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4,000</a:t>
            </a:r>
            <a:r>
              <a:rPr kumimoji="1" lang="ko-KR" altLang="en-US" sz="1100" dirty="0" err="1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규모 사채 출자전환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,000</a:t>
            </a:r>
            <a:r>
              <a:rPr kumimoji="1" lang="ko-KR" altLang="en-US" sz="1100" dirty="0" err="1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규모 사채 출자전환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정은 회장 </a:t>
            </a: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00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 출자 </a:t>
            </a: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유상증자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defTabSz="914400" latinLnBrk="1">
              <a:lnSpc>
                <a:spcPct val="150000"/>
              </a:lnSpc>
              <a:tabLst>
                <a:tab pos="180975" algn="l"/>
              </a:tabLst>
            </a:pPr>
            <a:endParaRPr kumimoji="1" lang="en-US" altLang="ko-KR" sz="1100" b="1" dirty="0">
              <a:solidFill>
                <a:srgbClr val="C6050A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9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706241" y="3060488"/>
            <a:ext cx="2793094" cy="1407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/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 err="1" smtClean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벌크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용선 사업부 영업 양도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종합연수원 지분 매각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 err="1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부산신항만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지분 </a:t>
            </a:r>
            <a:r>
              <a:rPr kumimoji="1" lang="ko-KR" altLang="en-US" sz="1100" dirty="0" smtClean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매각</a:t>
            </a:r>
            <a:endParaRPr kumimoji="1" lang="en-US" altLang="ko-KR" sz="1100" dirty="0" smtClean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증권 매각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0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706241" y="5548019"/>
            <a:ext cx="2267209" cy="602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/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lang="ko-KR" altLang="en-US" sz="1100" dirty="0"/>
              <a:t>주요 </a:t>
            </a:r>
            <a:r>
              <a:rPr lang="en-US" altLang="ko-KR" sz="1100" dirty="0"/>
              <a:t>5</a:t>
            </a:r>
            <a:r>
              <a:rPr lang="ko-KR" altLang="en-US" sz="1100" dirty="0"/>
              <a:t>개 컨테이너 선사와 약</a:t>
            </a:r>
            <a:r>
              <a:rPr lang="en-US" altLang="ko-KR" sz="1100" dirty="0"/>
              <a:t>21%, 5300</a:t>
            </a:r>
            <a:r>
              <a:rPr lang="ko-KR" altLang="en-US" sz="1100" dirty="0"/>
              <a:t>억 원 가량의 용선료 인하 </a:t>
            </a: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1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91246" y="2924658"/>
            <a:ext cx="971308" cy="920368"/>
          </a:xfrm>
          <a:prstGeom prst="rect">
            <a:avLst/>
          </a:prstGeom>
          <a:solidFill>
            <a:srgbClr val="83C2E5">
              <a:lumMod val="20000"/>
              <a:lumOff val="80000"/>
            </a:srgbClr>
          </a:solidFill>
          <a:ln w="19050" algn="ctr">
            <a:solidFill>
              <a:srgbClr val="363A94"/>
            </a:solidFill>
            <a:round/>
            <a:headEnd/>
            <a:tailEnd/>
          </a:ln>
          <a:effectLst/>
        </p:spPr>
        <p:txBody>
          <a:bodyPr lIns="46800" rIns="46800" anchor="ctr"/>
          <a:lstStyle/>
          <a:p>
            <a:pPr algn="ctr" defTabSz="914400" eaLnBrk="0" hangingPunct="0"/>
            <a:r>
              <a:rPr lang="ko-KR" altLang="en-US" sz="1200" b="1" kern="0" dirty="0" smtClean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/>
              </a:rPr>
              <a:t>해운동맹 </a:t>
            </a:r>
            <a:endParaRPr lang="en-US" altLang="ko-KR" sz="1200" b="1" kern="0" dirty="0" smtClean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/>
            </a:endParaRPr>
          </a:p>
          <a:p>
            <a:pPr algn="ctr" defTabSz="914400" eaLnBrk="0" hangingPunct="0"/>
            <a:r>
              <a:rPr lang="ko-KR" altLang="en-US" sz="1200" b="1" kern="0" dirty="0" smtClean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/>
              </a:rPr>
              <a:t>가입</a:t>
            </a:r>
            <a:endParaRPr lang="en-US" altLang="ko-KR" sz="12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/>
            </a:endParaRPr>
          </a:p>
        </p:txBody>
      </p:sp>
      <p:sp>
        <p:nvSpPr>
          <p:cNvPr id="32" name="Rectangle 30"/>
          <p:cNvSpPr>
            <a:spLocks noChangeArrowheads="1"/>
          </p:cNvSpPr>
          <p:nvPr/>
        </p:nvSpPr>
        <p:spPr bwMode="auto">
          <a:xfrm>
            <a:off x="5091246" y="4150383"/>
            <a:ext cx="971308" cy="844902"/>
          </a:xfrm>
          <a:prstGeom prst="rect">
            <a:avLst/>
          </a:prstGeom>
          <a:solidFill>
            <a:srgbClr val="83C2E5">
              <a:lumMod val="20000"/>
              <a:lumOff val="80000"/>
            </a:srgbClr>
          </a:solidFill>
          <a:ln w="19050" algn="ctr">
            <a:solidFill>
              <a:srgbClr val="363A94"/>
            </a:solidFill>
            <a:round/>
            <a:headEnd/>
            <a:tailEnd/>
          </a:ln>
          <a:effectLst/>
        </p:spPr>
        <p:txBody>
          <a:bodyPr lIns="46800" rIns="46800" anchor="ctr"/>
          <a:lstStyle/>
          <a:p>
            <a:pPr algn="ctr" defTabSz="914400" eaLnBrk="0" hangingPunct="0"/>
            <a:r>
              <a:rPr lang="ko-KR" altLang="en-US" sz="1200" b="1" kern="0" dirty="0" smtClean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/>
              </a:rPr>
              <a:t>신뢰도회복</a:t>
            </a:r>
            <a:endParaRPr lang="en-US" altLang="ko-KR" sz="12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/>
            </a:endParaRPr>
          </a:p>
        </p:txBody>
      </p:sp>
      <p:sp>
        <p:nvSpPr>
          <p:cNvPr id="33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69738" y="4317528"/>
            <a:ext cx="2793094" cy="602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/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장경영 실시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화주 설명회 개최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홍보팀의 대외협력부서 승격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4" name="Rectangle 30"/>
          <p:cNvSpPr>
            <a:spLocks noChangeArrowheads="1"/>
          </p:cNvSpPr>
          <p:nvPr/>
        </p:nvSpPr>
        <p:spPr bwMode="auto">
          <a:xfrm>
            <a:off x="5091246" y="5232278"/>
            <a:ext cx="971308" cy="909274"/>
          </a:xfrm>
          <a:prstGeom prst="rect">
            <a:avLst/>
          </a:prstGeom>
          <a:solidFill>
            <a:srgbClr val="83C2E5">
              <a:lumMod val="20000"/>
              <a:lumOff val="80000"/>
            </a:srgbClr>
          </a:solidFill>
          <a:ln w="19050" algn="ctr">
            <a:solidFill>
              <a:srgbClr val="363A94"/>
            </a:solidFill>
            <a:round/>
            <a:headEnd/>
            <a:tailEnd/>
          </a:ln>
          <a:effectLst/>
        </p:spPr>
        <p:txBody>
          <a:bodyPr lIns="46800" rIns="46800" anchor="ctr"/>
          <a:lstStyle/>
          <a:p>
            <a:pPr algn="ctr" defTabSz="914400" eaLnBrk="0" hangingPunct="0"/>
            <a:r>
              <a:rPr lang="ko-KR" altLang="en-US" sz="12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/>
              </a:rPr>
              <a:t>규모 성장</a:t>
            </a:r>
            <a:endParaRPr lang="en-US" altLang="ko-KR" sz="12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/>
            </a:endParaRPr>
          </a:p>
        </p:txBody>
      </p:sp>
      <p:sp>
        <p:nvSpPr>
          <p:cNvPr id="35" name="Rectangle 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66671" y="5297772"/>
            <a:ext cx="2715181" cy="85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/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 smtClean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중동항로 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확대 개편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만</a:t>
            </a: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TEU 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선박 </a:t>
            </a: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6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척 인수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7800" indent="-177800" defTabSz="914400" latinLnBrk="1"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유럽항로 터미널 사업 강화 </a:t>
            </a:r>
            <a:r>
              <a: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초대형 </a:t>
            </a:r>
            <a:r>
              <a:rPr kumimoji="1" lang="ko-KR" altLang="en-US" sz="1100" dirty="0" err="1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겐트리</a:t>
            </a: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크레인 인수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65896" y="1842443"/>
            <a:ext cx="7866917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6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</a:t>
            </a:r>
            <a:r>
              <a:rPr lang="en-US" altLang="ko-KR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</a:t>
            </a: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월 </a:t>
            </a:r>
            <a:r>
              <a:rPr lang="en-US" altLang="ko-KR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9</a:t>
            </a: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일 조건부 자율협약 개시 전후로</a:t>
            </a:r>
            <a:r>
              <a:rPr lang="en-US" altLang="ko-KR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다양한 분야에서 사업 조정과정 발생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63274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1330054" y="2366683"/>
            <a:ext cx="6494929" cy="2238327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60311" y="2524836"/>
            <a:ext cx="1941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ONTENTS :</a:t>
            </a:r>
            <a:endParaRPr lang="ko-KR" altLang="en-US" sz="2400" b="1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18462" y="2418246"/>
            <a:ext cx="1922321" cy="1338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분석 개요</a:t>
            </a:r>
            <a:endParaRPr lang="en-US" altLang="ko-KR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 </a:t>
            </a: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79673" y="2986501"/>
            <a:ext cx="1460656" cy="4732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>
              <a:lnSpc>
                <a:spcPct val="150000"/>
              </a:lnSpc>
              <a:buFont typeface="+mj-lt"/>
              <a:buAutoNum type="romanUcPeriod" startAt="3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9" name="Picture 4" descr="관련 이미지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2" t="10779" r="1215" b="10480"/>
          <a:stretch/>
        </p:blipFill>
        <p:spPr bwMode="auto">
          <a:xfrm>
            <a:off x="7139293" y="255489"/>
            <a:ext cx="1831975" cy="400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4661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30123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</a:t>
            </a:r>
            <a:r>
              <a:rPr lang="en-US" altLang="ko-KR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 </a:t>
            </a:r>
            <a:r>
              <a:rPr lang="ko-KR" altLang="en-US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 개요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28473" y="81879"/>
            <a:ext cx="13660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3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115929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 개요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695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 환경 분석인 현대상선의 가치사슬을 분석하여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강점과 약점을 도출해내고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인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EST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+Alliance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를 분석하여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기회와 위협을 도출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92150" y="3165596"/>
            <a:ext cx="3752849" cy="310820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</a:ln>
        </p:spPr>
        <p:txBody>
          <a:bodyPr wrap="square" lIns="72000" tIns="72000" rIns="0" bIns="0" rtlCol="0">
            <a:noAutofit/>
          </a:bodyPr>
          <a:lstStyle/>
          <a:p>
            <a:pPr marL="177800" marR="0" lvl="0" indent="-177800" defTabSz="9144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>
                <a:tab pos="180975" algn="l"/>
              </a:tabLst>
              <a:defRPr/>
            </a:pPr>
            <a:endParaRPr kumimoji="1" lang="en-US" altLang="ko-KR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6" name="직사각형 51"/>
          <p:cNvSpPr/>
          <p:nvPr/>
        </p:nvSpPr>
        <p:spPr bwMode="auto">
          <a:xfrm>
            <a:off x="692150" y="2912708"/>
            <a:ext cx="3752849" cy="252000"/>
          </a:xfrm>
          <a:prstGeom prst="rect">
            <a:avLst/>
          </a:prstGeom>
          <a:solidFill>
            <a:srgbClr val="363A94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1" hangingPunct="0">
              <a:lnSpc>
                <a:spcPct val="130000"/>
              </a:lnSpc>
              <a:spcBef>
                <a:spcPts val="200"/>
              </a:spcBef>
              <a:spcAft>
                <a:spcPts val="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</a:t>
            </a:r>
            <a:r>
              <a:rPr kumimoji="1" lang="ko-KR" altLang="en-US" sz="1200" b="1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환경 분석</a:t>
            </a:r>
            <a:endParaRPr kumimoji="1" lang="ko-KR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79964" y="3165596"/>
            <a:ext cx="3752849" cy="310820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</a:ln>
        </p:spPr>
        <p:txBody>
          <a:bodyPr wrap="square" lIns="72000" tIns="72000" rIns="0" bIns="0" rtlCol="0">
            <a:noAutofit/>
          </a:bodyPr>
          <a:lstStyle/>
          <a:p>
            <a:pPr marL="177800" marR="0" lvl="0" indent="-177800" defTabSz="9144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>
                <a:tab pos="180975" algn="l"/>
              </a:tabLst>
              <a:defRPr/>
            </a:pPr>
            <a:endParaRPr kumimoji="1" lang="en-US" altLang="ko-KR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9" name="직사각형 51"/>
          <p:cNvSpPr/>
          <p:nvPr/>
        </p:nvSpPr>
        <p:spPr bwMode="auto">
          <a:xfrm>
            <a:off x="4779964" y="2912708"/>
            <a:ext cx="3752849" cy="252000"/>
          </a:xfrm>
          <a:prstGeom prst="rect">
            <a:avLst/>
          </a:prstGeom>
          <a:solidFill>
            <a:srgbClr val="363A94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1" hangingPunct="0">
              <a:lnSpc>
                <a:spcPct val="130000"/>
              </a:lnSpc>
              <a:spcBef>
                <a:spcPts val="200"/>
              </a:spcBef>
              <a:spcAft>
                <a:spcPts val="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</a:t>
            </a:r>
          </a:p>
        </p:txBody>
      </p:sp>
      <p:sp>
        <p:nvSpPr>
          <p:cNvPr id="40" name="Rectangle 35"/>
          <p:cNvSpPr>
            <a:spLocks noChangeArrowheads="1"/>
          </p:cNvSpPr>
          <p:nvPr/>
        </p:nvSpPr>
        <p:spPr bwMode="auto">
          <a:xfrm>
            <a:off x="1927588" y="3486646"/>
            <a:ext cx="1300536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가치사슬분석</a:t>
            </a:r>
            <a:endParaRPr lang="en-US" altLang="ko-KR" sz="11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 defTabSz="914400" latinLnBrk="1"/>
            <a:r>
              <a: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Value Chain</a:t>
            </a:r>
            <a:endParaRPr lang="ko-KR" altLang="en-US" sz="11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1029306" y="4407396"/>
            <a:ext cx="3109800" cy="386093"/>
            <a:chOff x="1029306" y="3914654"/>
            <a:chExt cx="3109800" cy="386093"/>
          </a:xfrm>
        </p:grpSpPr>
        <p:sp>
          <p:nvSpPr>
            <p:cNvPr id="41" name="Rectangle 35"/>
            <p:cNvSpPr>
              <a:spLocks noChangeArrowheads="1"/>
            </p:cNvSpPr>
            <p:nvPr/>
          </p:nvSpPr>
          <p:spPr bwMode="auto">
            <a:xfrm>
              <a:off x="2134206" y="3914654"/>
              <a:ext cx="900000" cy="386093"/>
            </a:xfrm>
            <a:prstGeom prst="rect">
              <a:avLst/>
            </a:prstGeom>
            <a:noFill/>
            <a:ln w="9525" cap="flat" cmpd="sng" algn="ctr">
              <a:solidFill>
                <a:srgbClr val="363A94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000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운송지원</a:t>
              </a:r>
            </a:p>
          </p:txBody>
        </p:sp>
        <p:sp>
          <p:nvSpPr>
            <p:cNvPr id="42" name="Rectangle 35"/>
            <p:cNvSpPr>
              <a:spLocks noChangeArrowheads="1"/>
            </p:cNvSpPr>
            <p:nvPr/>
          </p:nvSpPr>
          <p:spPr bwMode="auto">
            <a:xfrm>
              <a:off x="1029306" y="3914654"/>
              <a:ext cx="900000" cy="386093"/>
            </a:xfrm>
            <a:prstGeom prst="rect">
              <a:avLst/>
            </a:prstGeom>
            <a:noFill/>
            <a:ln w="9525" cap="flat" cmpd="sng" algn="ctr">
              <a:solidFill>
                <a:srgbClr val="363A94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000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경영지원</a:t>
              </a:r>
            </a:p>
          </p:txBody>
        </p:sp>
        <p:sp>
          <p:nvSpPr>
            <p:cNvPr id="43" name="Rectangle 35"/>
            <p:cNvSpPr>
              <a:spLocks noChangeArrowheads="1"/>
            </p:cNvSpPr>
            <p:nvPr/>
          </p:nvSpPr>
          <p:spPr bwMode="auto">
            <a:xfrm>
              <a:off x="3239106" y="3914654"/>
              <a:ext cx="900000" cy="386093"/>
            </a:xfrm>
            <a:prstGeom prst="rect">
              <a:avLst/>
            </a:prstGeom>
            <a:noFill/>
            <a:ln w="9525" cap="flat" cmpd="sng" algn="ctr">
              <a:solidFill>
                <a:srgbClr val="363A94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000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본원활동</a:t>
              </a: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1029306" y="5483804"/>
            <a:ext cx="3109800" cy="386093"/>
            <a:chOff x="1029306" y="4829054"/>
            <a:chExt cx="3109800" cy="386093"/>
          </a:xfrm>
        </p:grpSpPr>
        <p:sp>
          <p:nvSpPr>
            <p:cNvPr id="44" name="Rectangle 35"/>
            <p:cNvSpPr>
              <a:spLocks noChangeArrowheads="1"/>
            </p:cNvSpPr>
            <p:nvPr/>
          </p:nvSpPr>
          <p:spPr bwMode="auto">
            <a:xfrm>
              <a:off x="1029306" y="4829054"/>
              <a:ext cx="1299600" cy="38609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강점</a:t>
              </a:r>
              <a:endPara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pPr algn="ctr" defTabSz="914400" latinLnBrk="1"/>
              <a:r>
                <a:rPr lang="en-US" altLang="ko-KR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Strength</a:t>
              </a:r>
              <a:endPara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45" name="Rectangle 35"/>
            <p:cNvSpPr>
              <a:spLocks noChangeArrowheads="1"/>
            </p:cNvSpPr>
            <p:nvPr/>
          </p:nvSpPr>
          <p:spPr bwMode="auto">
            <a:xfrm>
              <a:off x="2839506" y="4829054"/>
              <a:ext cx="1299600" cy="38609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약점</a:t>
              </a:r>
              <a:endPara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pPr algn="ctr" defTabSz="914400" latinLnBrk="1"/>
              <a:r>
                <a:rPr lang="en-US" altLang="ko-KR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Weakness</a:t>
              </a:r>
              <a:endPara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cxnSp>
        <p:nvCxnSpPr>
          <p:cNvPr id="46" name="꺾인 연결선 45"/>
          <p:cNvCxnSpPr>
            <a:stCxn id="40" idx="2"/>
            <a:endCxn id="42" idx="0"/>
          </p:cNvCxnSpPr>
          <p:nvPr/>
        </p:nvCxnSpPr>
        <p:spPr>
          <a:xfrm rot="5400000">
            <a:off x="1761253" y="3590792"/>
            <a:ext cx="534657" cy="109855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꺾인 연결선 48"/>
          <p:cNvCxnSpPr>
            <a:stCxn id="40" idx="2"/>
            <a:endCxn id="43" idx="0"/>
          </p:cNvCxnSpPr>
          <p:nvPr/>
        </p:nvCxnSpPr>
        <p:spPr>
          <a:xfrm rot="16200000" flipH="1">
            <a:off x="2866153" y="3584442"/>
            <a:ext cx="534657" cy="111125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꺾인 연결선 55"/>
          <p:cNvCxnSpPr>
            <a:stCxn id="40" idx="2"/>
            <a:endCxn id="41" idx="0"/>
          </p:cNvCxnSpPr>
          <p:nvPr/>
        </p:nvCxnSpPr>
        <p:spPr>
          <a:xfrm rot="16200000" flipH="1">
            <a:off x="2310528" y="4140067"/>
            <a:ext cx="534657" cy="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이등변 삼각형 59"/>
          <p:cNvSpPr/>
          <p:nvPr/>
        </p:nvSpPr>
        <p:spPr>
          <a:xfrm flipV="1">
            <a:off x="1488574" y="5073398"/>
            <a:ext cx="2160000" cy="143158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1" name="Rectangle 35"/>
          <p:cNvSpPr>
            <a:spLocks noChangeArrowheads="1"/>
          </p:cNvSpPr>
          <p:nvPr/>
        </p:nvSpPr>
        <p:spPr bwMode="auto">
          <a:xfrm>
            <a:off x="6030304" y="3486646"/>
            <a:ext cx="1300536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400" latinLnBrk="1"/>
            <a:r>
              <a: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ESTA </a:t>
            </a:r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</a:p>
        </p:txBody>
      </p:sp>
      <p:grpSp>
        <p:nvGrpSpPr>
          <p:cNvPr id="66" name="그룹 65"/>
          <p:cNvGrpSpPr/>
          <p:nvPr/>
        </p:nvGrpSpPr>
        <p:grpSpPr>
          <a:xfrm>
            <a:off x="5125672" y="5483804"/>
            <a:ext cx="3109800" cy="386093"/>
            <a:chOff x="1029306" y="4829054"/>
            <a:chExt cx="3109800" cy="386093"/>
          </a:xfrm>
        </p:grpSpPr>
        <p:sp>
          <p:nvSpPr>
            <p:cNvPr id="67" name="Rectangle 35"/>
            <p:cNvSpPr>
              <a:spLocks noChangeArrowheads="1"/>
            </p:cNvSpPr>
            <p:nvPr/>
          </p:nvSpPr>
          <p:spPr bwMode="auto">
            <a:xfrm>
              <a:off x="1029306" y="4829054"/>
              <a:ext cx="1299600" cy="38609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기회</a:t>
              </a:r>
              <a:endPara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pPr algn="ctr" defTabSz="914400" latinLnBrk="1"/>
              <a:r>
                <a:rPr lang="en-US" altLang="ko-KR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Opportunity</a:t>
              </a:r>
              <a:endPara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68" name="Rectangle 35"/>
            <p:cNvSpPr>
              <a:spLocks noChangeArrowheads="1"/>
            </p:cNvSpPr>
            <p:nvPr/>
          </p:nvSpPr>
          <p:spPr bwMode="auto">
            <a:xfrm>
              <a:off x="2839506" y="4829054"/>
              <a:ext cx="1299600" cy="38609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위협</a:t>
              </a:r>
              <a:endPara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pPr algn="ctr" defTabSz="914400" latinLnBrk="1"/>
              <a:r>
                <a:rPr lang="en-US" altLang="ko-KR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Threaten</a:t>
              </a:r>
              <a:endPara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cxnSp>
        <p:nvCxnSpPr>
          <p:cNvPr id="69" name="꺾인 연결선 68"/>
          <p:cNvCxnSpPr>
            <a:stCxn id="61" idx="2"/>
            <a:endCxn id="65" idx="0"/>
          </p:cNvCxnSpPr>
          <p:nvPr/>
        </p:nvCxnSpPr>
        <p:spPr>
          <a:xfrm rot="16200000" flipH="1">
            <a:off x="6764773" y="3788538"/>
            <a:ext cx="534657" cy="70305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꺾인 연결선 69"/>
          <p:cNvCxnSpPr>
            <a:stCxn id="61" idx="2"/>
            <a:endCxn id="64" idx="0"/>
          </p:cNvCxnSpPr>
          <p:nvPr/>
        </p:nvCxnSpPr>
        <p:spPr>
          <a:xfrm rot="5400000">
            <a:off x="5710186" y="3437009"/>
            <a:ext cx="534657" cy="140611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꺾인 연결선 70"/>
          <p:cNvCxnSpPr>
            <a:stCxn id="61" idx="2"/>
            <a:endCxn id="63" idx="0"/>
          </p:cNvCxnSpPr>
          <p:nvPr/>
        </p:nvCxnSpPr>
        <p:spPr>
          <a:xfrm rot="5400000">
            <a:off x="6061715" y="3788538"/>
            <a:ext cx="534657" cy="70305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이등변 삼각형 71"/>
          <p:cNvSpPr/>
          <p:nvPr/>
        </p:nvSpPr>
        <p:spPr>
          <a:xfrm flipV="1">
            <a:off x="5576388" y="5073398"/>
            <a:ext cx="2160000" cy="143158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91" name="그룹 90"/>
          <p:cNvGrpSpPr/>
          <p:nvPr/>
        </p:nvGrpSpPr>
        <p:grpSpPr>
          <a:xfrm>
            <a:off x="4957737" y="4407396"/>
            <a:ext cx="3445671" cy="386093"/>
            <a:chOff x="4957737" y="3997204"/>
            <a:chExt cx="3445671" cy="386093"/>
          </a:xfrm>
        </p:grpSpPr>
        <p:sp>
          <p:nvSpPr>
            <p:cNvPr id="63" name="Rectangle 35"/>
            <p:cNvSpPr>
              <a:spLocks noChangeArrowheads="1"/>
            </p:cNvSpPr>
            <p:nvPr/>
          </p:nvSpPr>
          <p:spPr bwMode="auto">
            <a:xfrm>
              <a:off x="5660795" y="3997204"/>
              <a:ext cx="633438" cy="386093"/>
            </a:xfrm>
            <a:prstGeom prst="rect">
              <a:avLst/>
            </a:prstGeom>
            <a:noFill/>
            <a:ln w="9525" cap="flat" cmpd="sng" algn="ctr">
              <a:solidFill>
                <a:srgbClr val="363A94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000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경제</a:t>
              </a:r>
              <a:endParaRPr lang="en-US" altLang="ko-KR" sz="1000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pPr algn="ctr" defTabSz="914400" latinLnBrk="1"/>
              <a:r>
                <a:rPr lang="en-US" altLang="ko-KR" sz="1000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Economic</a:t>
              </a:r>
              <a:endParaRPr lang="ko-KR" altLang="en-US" sz="1000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64" name="Rectangle 35"/>
            <p:cNvSpPr>
              <a:spLocks noChangeArrowheads="1"/>
            </p:cNvSpPr>
            <p:nvPr/>
          </p:nvSpPr>
          <p:spPr bwMode="auto">
            <a:xfrm>
              <a:off x="4957737" y="3997204"/>
              <a:ext cx="633438" cy="386093"/>
            </a:xfrm>
            <a:prstGeom prst="rect">
              <a:avLst/>
            </a:prstGeom>
            <a:noFill/>
            <a:ln w="9525" cap="flat" cmpd="sng" algn="ctr">
              <a:solidFill>
                <a:srgbClr val="363A94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000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정치</a:t>
              </a:r>
              <a:endParaRPr lang="en-US" altLang="ko-KR" sz="1000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pPr algn="ctr" defTabSz="914400" latinLnBrk="1"/>
              <a:r>
                <a:rPr lang="en-US" altLang="ko-KR" sz="1000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Political</a:t>
              </a:r>
              <a:endParaRPr lang="ko-KR" altLang="en-US" sz="1000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65" name="Rectangle 35"/>
            <p:cNvSpPr>
              <a:spLocks noChangeArrowheads="1"/>
            </p:cNvSpPr>
            <p:nvPr/>
          </p:nvSpPr>
          <p:spPr bwMode="auto">
            <a:xfrm>
              <a:off x="7066911" y="3997204"/>
              <a:ext cx="633438" cy="386093"/>
            </a:xfrm>
            <a:prstGeom prst="rect">
              <a:avLst/>
            </a:prstGeom>
            <a:noFill/>
            <a:ln w="9525" cap="flat" cmpd="sng" algn="ctr">
              <a:solidFill>
                <a:srgbClr val="363A94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000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기술</a:t>
              </a:r>
              <a:endParaRPr lang="en-US" altLang="ko-KR" sz="1000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pPr algn="ctr" defTabSz="914400" latinLnBrk="1"/>
              <a:r>
                <a:rPr lang="en-US" altLang="ko-KR" sz="1000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Tech</a:t>
              </a:r>
              <a:endParaRPr lang="ko-KR" altLang="en-US" sz="1000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84" name="Rectangle 35"/>
            <p:cNvSpPr>
              <a:spLocks noChangeArrowheads="1"/>
            </p:cNvSpPr>
            <p:nvPr/>
          </p:nvSpPr>
          <p:spPr bwMode="auto">
            <a:xfrm>
              <a:off x="6363853" y="3997204"/>
              <a:ext cx="633438" cy="386093"/>
            </a:xfrm>
            <a:prstGeom prst="rect">
              <a:avLst/>
            </a:prstGeom>
            <a:noFill/>
            <a:ln w="9525" cap="flat" cmpd="sng" algn="ctr">
              <a:solidFill>
                <a:srgbClr val="363A94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000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사회</a:t>
              </a:r>
              <a:endParaRPr lang="en-US" altLang="ko-KR" sz="1000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pPr algn="ctr" defTabSz="914400" latinLnBrk="1"/>
              <a:r>
                <a:rPr lang="en-US" altLang="ko-KR" sz="1000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Social</a:t>
              </a:r>
              <a:endParaRPr lang="ko-KR" altLang="en-US" sz="1000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90" name="Rectangle 35"/>
            <p:cNvSpPr>
              <a:spLocks noChangeArrowheads="1"/>
            </p:cNvSpPr>
            <p:nvPr/>
          </p:nvSpPr>
          <p:spPr bwMode="auto">
            <a:xfrm>
              <a:off x="7769970" y="3997204"/>
              <a:ext cx="633438" cy="386093"/>
            </a:xfrm>
            <a:prstGeom prst="rect">
              <a:avLst/>
            </a:prstGeom>
            <a:noFill/>
            <a:ln w="9525" cap="flat" cmpd="sng" algn="ctr">
              <a:solidFill>
                <a:srgbClr val="363A94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000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해운동맹</a:t>
              </a:r>
              <a:endParaRPr lang="en-US" altLang="ko-KR" sz="1000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pPr algn="ctr" defTabSz="914400" latinLnBrk="1"/>
              <a:r>
                <a:rPr lang="en-US" altLang="ko-KR" sz="1000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Alliance</a:t>
              </a:r>
              <a:endParaRPr lang="ko-KR" altLang="en-US" sz="1000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cxnSp>
        <p:nvCxnSpPr>
          <p:cNvPr id="92" name="꺾인 연결선 91"/>
          <p:cNvCxnSpPr>
            <a:stCxn id="61" idx="2"/>
            <a:endCxn id="90" idx="0"/>
          </p:cNvCxnSpPr>
          <p:nvPr/>
        </p:nvCxnSpPr>
        <p:spPr>
          <a:xfrm rot="16200000" flipH="1">
            <a:off x="7116302" y="3437008"/>
            <a:ext cx="534657" cy="140611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꺾인 연결선 95"/>
          <p:cNvCxnSpPr>
            <a:stCxn id="61" idx="2"/>
          </p:cNvCxnSpPr>
          <p:nvPr/>
        </p:nvCxnSpPr>
        <p:spPr>
          <a:xfrm rot="5400000">
            <a:off x="6413244" y="4140067"/>
            <a:ext cx="534656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9856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30123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 환경 분석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28474" y="81879"/>
            <a:ext cx="1366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3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214558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Value Chain 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372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가치사슬은 경영지원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송지원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본원활동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송준비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송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으로 나누어짐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646605" y="5675204"/>
            <a:ext cx="3633789" cy="597080"/>
          </a:xfrm>
          <a:prstGeom prst="rect">
            <a:avLst/>
          </a:prstGeom>
          <a:noFill/>
          <a:ln w="28575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자유형 6"/>
          <p:cNvSpPr/>
          <p:nvPr/>
        </p:nvSpPr>
        <p:spPr>
          <a:xfrm>
            <a:off x="7321039" y="4860055"/>
            <a:ext cx="1069665" cy="432000"/>
          </a:xfrm>
          <a:custGeom>
            <a:avLst/>
            <a:gdLst>
              <a:gd name="connsiteX0" fmla="*/ 0 w 2342554"/>
              <a:gd name="connsiteY0" fmla="*/ 0 h 937021"/>
              <a:gd name="connsiteX1" fmla="*/ 187404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468511 w 2342554"/>
              <a:gd name="connsiteY5" fmla="*/ 468511 h 937021"/>
              <a:gd name="connsiteX6" fmla="*/ 0 w 2342554"/>
              <a:gd name="connsiteY6" fmla="*/ 0 h 937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42554" h="937021">
                <a:moveTo>
                  <a:pt x="0" y="0"/>
                </a:moveTo>
                <a:lnTo>
                  <a:pt x="1874044" y="0"/>
                </a:lnTo>
                <a:lnTo>
                  <a:pt x="2342554" y="468511"/>
                </a:lnTo>
                <a:lnTo>
                  <a:pt x="1874044" y="937021"/>
                </a:lnTo>
                <a:lnTo>
                  <a:pt x="0" y="937021"/>
                </a:lnTo>
                <a:lnTo>
                  <a:pt x="468511" y="4685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676" tIns="37338" rIns="252924" bIns="37338" numCol="1" spcCol="1270" anchor="ctr" anchorCtr="0">
            <a:noAutofit/>
          </a:bodyPr>
          <a:lstStyle/>
          <a:p>
            <a:pPr algn="ctr" defTabSz="622300" latinLnBrk="1">
              <a:spcBef>
                <a:spcPct val="0"/>
              </a:spcBef>
            </a:pPr>
            <a:r>
              <a:rPr lang="ko-KR" altLang="en-US" sz="1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화주</a:t>
            </a:r>
          </a:p>
        </p:txBody>
      </p:sp>
      <p:grpSp>
        <p:nvGrpSpPr>
          <p:cNvPr id="35" name="그룹 34"/>
          <p:cNvGrpSpPr/>
          <p:nvPr/>
        </p:nvGrpSpPr>
        <p:grpSpPr>
          <a:xfrm>
            <a:off x="2346181" y="4860055"/>
            <a:ext cx="1982443" cy="432000"/>
            <a:chOff x="1802873" y="4936255"/>
            <a:chExt cx="1982443" cy="432000"/>
          </a:xfrm>
          <a:solidFill>
            <a:schemeClr val="accent1">
              <a:lumMod val="75000"/>
            </a:schemeClr>
          </a:solidFill>
        </p:grpSpPr>
        <p:sp>
          <p:nvSpPr>
            <p:cNvPr id="8" name="자유형 7"/>
            <p:cNvSpPr/>
            <p:nvPr/>
          </p:nvSpPr>
          <p:spPr>
            <a:xfrm>
              <a:off x="1802873" y="4936255"/>
              <a:ext cx="1069665" cy="432000"/>
            </a:xfrm>
            <a:custGeom>
              <a:avLst/>
              <a:gdLst>
                <a:gd name="connsiteX0" fmla="*/ 0 w 2342554"/>
                <a:gd name="connsiteY0" fmla="*/ 0 h 937021"/>
                <a:gd name="connsiteX1" fmla="*/ 1874044 w 2342554"/>
                <a:gd name="connsiteY1" fmla="*/ 0 h 937021"/>
                <a:gd name="connsiteX2" fmla="*/ 2342554 w 2342554"/>
                <a:gd name="connsiteY2" fmla="*/ 468511 h 937021"/>
                <a:gd name="connsiteX3" fmla="*/ 1874044 w 2342554"/>
                <a:gd name="connsiteY3" fmla="*/ 937021 h 937021"/>
                <a:gd name="connsiteX4" fmla="*/ 0 w 2342554"/>
                <a:gd name="connsiteY4" fmla="*/ 937021 h 937021"/>
                <a:gd name="connsiteX5" fmla="*/ 0 w 2342554"/>
                <a:gd name="connsiteY5" fmla="*/ 0 h 937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2554" h="937021">
                  <a:moveTo>
                    <a:pt x="0" y="0"/>
                  </a:moveTo>
                  <a:lnTo>
                    <a:pt x="1874044" y="0"/>
                  </a:lnTo>
                  <a:lnTo>
                    <a:pt x="2342554" y="468511"/>
                  </a:lnTo>
                  <a:lnTo>
                    <a:pt x="1874044" y="937021"/>
                  </a:lnTo>
                  <a:lnTo>
                    <a:pt x="0" y="93702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4676" tIns="37338" rIns="252924" bIns="37338" numCol="1" spcCol="1270" anchor="ctr" anchorCtr="0">
              <a:noAutofit/>
            </a:bodyPr>
            <a:lstStyle/>
            <a:p>
              <a:pPr marL="0" lvl="0" indent="0" algn="ctr" defTabSz="6223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ko-KR" altLang="en-US" sz="1200" kern="120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영업</a:t>
              </a:r>
              <a:r>
                <a:rPr lang="en-US" altLang="ko-KR" sz="120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/</a:t>
              </a:r>
              <a:r>
                <a:rPr lang="ko-KR" altLang="en-US" sz="120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계약</a:t>
              </a:r>
              <a:endParaRPr lang="ko-KR" altLang="en-US" sz="1200" kern="1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715651" y="4936255"/>
              <a:ext cx="1069665" cy="432000"/>
            </a:xfrm>
            <a:custGeom>
              <a:avLst/>
              <a:gdLst>
                <a:gd name="connsiteX0" fmla="*/ 0 w 2342554"/>
                <a:gd name="connsiteY0" fmla="*/ 0 h 937021"/>
                <a:gd name="connsiteX1" fmla="*/ 1874044 w 2342554"/>
                <a:gd name="connsiteY1" fmla="*/ 0 h 937021"/>
                <a:gd name="connsiteX2" fmla="*/ 2342554 w 2342554"/>
                <a:gd name="connsiteY2" fmla="*/ 468511 h 937021"/>
                <a:gd name="connsiteX3" fmla="*/ 1874044 w 2342554"/>
                <a:gd name="connsiteY3" fmla="*/ 937021 h 937021"/>
                <a:gd name="connsiteX4" fmla="*/ 0 w 2342554"/>
                <a:gd name="connsiteY4" fmla="*/ 937021 h 937021"/>
                <a:gd name="connsiteX5" fmla="*/ 468511 w 2342554"/>
                <a:gd name="connsiteY5" fmla="*/ 468511 h 937021"/>
                <a:gd name="connsiteX6" fmla="*/ 0 w 2342554"/>
                <a:gd name="connsiteY6" fmla="*/ 0 h 937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2554" h="937021">
                  <a:moveTo>
                    <a:pt x="0" y="0"/>
                  </a:moveTo>
                  <a:lnTo>
                    <a:pt x="1874044" y="0"/>
                  </a:lnTo>
                  <a:lnTo>
                    <a:pt x="2342554" y="468511"/>
                  </a:lnTo>
                  <a:lnTo>
                    <a:pt x="1874044" y="937021"/>
                  </a:lnTo>
                  <a:lnTo>
                    <a:pt x="0" y="937021"/>
                  </a:lnTo>
                  <a:lnTo>
                    <a:pt x="468511" y="46851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4676" tIns="37338" rIns="252924" bIns="37338" numCol="1" spcCol="1270" anchor="ctr" anchorCtr="0">
              <a:noAutofit/>
            </a:bodyPr>
            <a:lstStyle/>
            <a:p>
              <a:pPr algn="ctr" defTabSz="62230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o-KR" altLang="en-US" sz="120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구매</a:t>
              </a:r>
            </a:p>
          </p:txBody>
        </p:sp>
      </p:grpSp>
      <p:sp>
        <p:nvSpPr>
          <p:cNvPr id="12" name="자유형 11"/>
          <p:cNvSpPr/>
          <p:nvPr/>
        </p:nvSpPr>
        <p:spPr>
          <a:xfrm>
            <a:off x="5452350" y="4860055"/>
            <a:ext cx="1069665" cy="432000"/>
          </a:xfrm>
          <a:custGeom>
            <a:avLst/>
            <a:gdLst>
              <a:gd name="connsiteX0" fmla="*/ 0 w 2342554"/>
              <a:gd name="connsiteY0" fmla="*/ 0 h 937021"/>
              <a:gd name="connsiteX1" fmla="*/ 187404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468511 w 2342554"/>
              <a:gd name="connsiteY5" fmla="*/ 468511 h 937021"/>
              <a:gd name="connsiteX6" fmla="*/ 0 w 2342554"/>
              <a:gd name="connsiteY6" fmla="*/ 0 h 937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42554" h="937021">
                <a:moveTo>
                  <a:pt x="0" y="0"/>
                </a:moveTo>
                <a:lnTo>
                  <a:pt x="1874044" y="0"/>
                </a:lnTo>
                <a:lnTo>
                  <a:pt x="2342554" y="468511"/>
                </a:lnTo>
                <a:lnTo>
                  <a:pt x="1874044" y="937021"/>
                </a:lnTo>
                <a:lnTo>
                  <a:pt x="0" y="937021"/>
                </a:lnTo>
                <a:lnTo>
                  <a:pt x="468511" y="4685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676" tIns="37338" rIns="252924" bIns="37338" numCol="1" spcCol="1270" anchor="ctr" anchorCtr="0">
            <a:noAutofit/>
          </a:bodyPr>
          <a:lstStyle/>
          <a:p>
            <a:pPr algn="ctr" defTabSz="622300" latinLnBrk="1">
              <a:spcBef>
                <a:spcPct val="0"/>
              </a:spcBef>
            </a:pPr>
            <a:r>
              <a:rPr lang="ko-KR" altLang="en-US" sz="1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항만</a:t>
            </a:r>
            <a:endParaRPr lang="en-US" altLang="ko-KR" sz="1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 defTabSz="622300" latinLnBrk="1">
              <a:spcBef>
                <a:spcPct val="0"/>
              </a:spcBef>
            </a:pPr>
            <a:r>
              <a:rPr lang="en-US" altLang="ko-KR" sz="1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lang="ko-KR" altLang="en-US" sz="1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터미널</a:t>
            </a:r>
            <a:r>
              <a:rPr lang="en-US" altLang="ko-KR" sz="1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  <a:endParaRPr lang="ko-KR" altLang="en-US" sz="1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3" name="자유형 12"/>
          <p:cNvSpPr/>
          <p:nvPr/>
        </p:nvSpPr>
        <p:spPr>
          <a:xfrm>
            <a:off x="6376771" y="4860055"/>
            <a:ext cx="1069665" cy="432000"/>
          </a:xfrm>
          <a:custGeom>
            <a:avLst/>
            <a:gdLst>
              <a:gd name="connsiteX0" fmla="*/ 0 w 2342554"/>
              <a:gd name="connsiteY0" fmla="*/ 0 h 937021"/>
              <a:gd name="connsiteX1" fmla="*/ 187404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468511 w 2342554"/>
              <a:gd name="connsiteY5" fmla="*/ 468511 h 937021"/>
              <a:gd name="connsiteX6" fmla="*/ 0 w 2342554"/>
              <a:gd name="connsiteY6" fmla="*/ 0 h 937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42554" h="937021">
                <a:moveTo>
                  <a:pt x="0" y="0"/>
                </a:moveTo>
                <a:lnTo>
                  <a:pt x="1874044" y="0"/>
                </a:lnTo>
                <a:lnTo>
                  <a:pt x="2342554" y="468511"/>
                </a:lnTo>
                <a:lnTo>
                  <a:pt x="1874044" y="937021"/>
                </a:lnTo>
                <a:lnTo>
                  <a:pt x="0" y="937021"/>
                </a:lnTo>
                <a:lnTo>
                  <a:pt x="468511" y="4685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676" tIns="37338" rIns="252924" bIns="37338" numCol="1" spcCol="1270" anchor="ctr" anchorCtr="0">
            <a:noAutofit/>
          </a:bodyPr>
          <a:lstStyle/>
          <a:p>
            <a:pPr algn="ctr" defTabSz="6223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ko-KR" altLang="en-US" sz="1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송</a:t>
            </a:r>
          </a:p>
        </p:txBody>
      </p:sp>
      <p:sp>
        <p:nvSpPr>
          <p:cNvPr id="14" name="직사각형 13"/>
          <p:cNvSpPr/>
          <p:nvPr/>
        </p:nvSpPr>
        <p:spPr>
          <a:xfrm>
            <a:off x="2347492" y="4515753"/>
            <a:ext cx="1955147" cy="288000"/>
          </a:xfrm>
          <a:prstGeom prst="rect">
            <a:avLst/>
          </a:prstGeom>
          <a:noFill/>
          <a:ln w="28575">
            <a:solidFill>
              <a:srgbClr val="363A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송준비</a:t>
            </a:r>
          </a:p>
        </p:txBody>
      </p:sp>
      <p:sp>
        <p:nvSpPr>
          <p:cNvPr id="15" name="자유형 14"/>
          <p:cNvSpPr/>
          <p:nvPr/>
        </p:nvSpPr>
        <p:spPr>
          <a:xfrm>
            <a:off x="4524426" y="4860055"/>
            <a:ext cx="1069665" cy="432000"/>
          </a:xfrm>
          <a:custGeom>
            <a:avLst/>
            <a:gdLst>
              <a:gd name="connsiteX0" fmla="*/ 0 w 2342554"/>
              <a:gd name="connsiteY0" fmla="*/ 0 h 937021"/>
              <a:gd name="connsiteX1" fmla="*/ 187404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42554" h="937021">
                <a:moveTo>
                  <a:pt x="0" y="0"/>
                </a:moveTo>
                <a:lnTo>
                  <a:pt x="1874044" y="0"/>
                </a:lnTo>
                <a:lnTo>
                  <a:pt x="2342554" y="468511"/>
                </a:lnTo>
                <a:lnTo>
                  <a:pt x="1874044" y="937021"/>
                </a:lnTo>
                <a:lnTo>
                  <a:pt x="0" y="9370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676" tIns="37338" rIns="252924" bIns="37338" numCol="1" spcCol="1270" anchor="ctr" anchorCtr="0">
            <a:noAutofit/>
          </a:bodyPr>
          <a:lstStyle/>
          <a:p>
            <a:pPr marL="0" lvl="0" indent="0" algn="ctr" defTabSz="6223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1200" kern="1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영업</a:t>
            </a:r>
            <a:r>
              <a:rPr lang="en-US" altLang="ko-KR" sz="1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/</a:t>
            </a:r>
            <a:r>
              <a:rPr lang="ko-KR" altLang="en-US" sz="1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계약</a:t>
            </a:r>
            <a:endParaRPr lang="ko-KR" altLang="en-US" sz="1200" kern="1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4511574" y="4515753"/>
            <a:ext cx="3866278" cy="288000"/>
          </a:xfrm>
          <a:prstGeom prst="rect">
            <a:avLst/>
          </a:prstGeom>
          <a:noFill/>
          <a:ln w="28575">
            <a:solidFill>
              <a:srgbClr val="363A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송</a:t>
            </a:r>
          </a:p>
        </p:txBody>
      </p:sp>
      <p:grpSp>
        <p:nvGrpSpPr>
          <p:cNvPr id="5" name="그룹 4"/>
          <p:cNvGrpSpPr/>
          <p:nvPr/>
        </p:nvGrpSpPr>
        <p:grpSpPr>
          <a:xfrm>
            <a:off x="4739360" y="5761039"/>
            <a:ext cx="3439477" cy="404134"/>
            <a:chOff x="4832992" y="6041956"/>
            <a:chExt cx="3439477" cy="404134"/>
          </a:xfrm>
        </p:grpSpPr>
        <p:sp>
          <p:nvSpPr>
            <p:cNvPr id="18" name="직사각형 17"/>
            <p:cNvSpPr/>
            <p:nvPr/>
          </p:nvSpPr>
          <p:spPr>
            <a:xfrm>
              <a:off x="4832992" y="6041956"/>
              <a:ext cx="1069665" cy="40413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컨테이너 </a:t>
              </a:r>
              <a:r>
                <a:rPr lang="ko-KR" altLang="en-US" sz="1100" dirty="0" err="1">
                  <a:solidFill>
                    <a:schemeClr val="tx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상하역</a:t>
              </a:r>
              <a:endParaRPr lang="ko-KR" altLang="en-US" sz="1100" dirty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19" name="직사각형 18"/>
            <p:cNvSpPr/>
            <p:nvPr/>
          </p:nvSpPr>
          <p:spPr>
            <a:xfrm>
              <a:off x="6017898" y="6041956"/>
              <a:ext cx="1069665" cy="40413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>
                  <a:solidFill>
                    <a:schemeClr val="tx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상품 </a:t>
              </a:r>
              <a:r>
                <a:rPr lang="ko-KR" altLang="en-US" sz="1100" dirty="0" err="1">
                  <a:solidFill>
                    <a:schemeClr val="tx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상하역</a:t>
              </a:r>
              <a:endParaRPr lang="ko-KR" altLang="en-US" sz="1100" dirty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7202804" y="6041956"/>
              <a:ext cx="1069665" cy="40413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ko-KR" altLang="en-US" sz="1100" dirty="0">
                  <a:solidFill>
                    <a:schemeClr val="tx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보관</a:t>
              </a:r>
              <a:r>
                <a:rPr lang="en-US" altLang="ko-KR" sz="1100" dirty="0">
                  <a:solidFill>
                    <a:schemeClr val="tx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/</a:t>
              </a:r>
              <a:r>
                <a:rPr lang="ko-KR" altLang="en-US" sz="1100" dirty="0">
                  <a:solidFill>
                    <a:schemeClr val="tx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하역</a:t>
              </a:r>
            </a:p>
          </p:txBody>
        </p:sp>
      </p:grpSp>
      <p:sp>
        <p:nvSpPr>
          <p:cNvPr id="21" name="자유형 20"/>
          <p:cNvSpPr/>
          <p:nvPr/>
        </p:nvSpPr>
        <p:spPr>
          <a:xfrm>
            <a:off x="2347492" y="2909427"/>
            <a:ext cx="6037665" cy="288000"/>
          </a:xfrm>
          <a:custGeom>
            <a:avLst/>
            <a:gdLst>
              <a:gd name="connsiteX0" fmla="*/ 0 w 2342554"/>
              <a:gd name="connsiteY0" fmla="*/ 0 h 937021"/>
              <a:gd name="connsiteX1" fmla="*/ 187404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  <a:gd name="connsiteX0" fmla="*/ 0 w 2342554"/>
              <a:gd name="connsiteY0" fmla="*/ 0 h 937021"/>
              <a:gd name="connsiteX1" fmla="*/ 209313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  <a:gd name="connsiteX0" fmla="*/ 0 w 2342554"/>
              <a:gd name="connsiteY0" fmla="*/ 0 h 937021"/>
              <a:gd name="connsiteX1" fmla="*/ 2093134 w 2342554"/>
              <a:gd name="connsiteY1" fmla="*/ 0 h 937021"/>
              <a:gd name="connsiteX2" fmla="*/ 2342554 w 2342554"/>
              <a:gd name="connsiteY2" fmla="*/ 468511 h 937021"/>
              <a:gd name="connsiteX3" fmla="*/ 2088266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42554" h="937021">
                <a:moveTo>
                  <a:pt x="0" y="0"/>
                </a:moveTo>
                <a:lnTo>
                  <a:pt x="2093134" y="0"/>
                </a:lnTo>
                <a:lnTo>
                  <a:pt x="2342554" y="468511"/>
                </a:lnTo>
                <a:lnTo>
                  <a:pt x="2088266" y="937021"/>
                </a:lnTo>
                <a:lnTo>
                  <a:pt x="0" y="9370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676" tIns="37338" rIns="252924" bIns="37338" numCol="1" spcCol="1270" anchor="ctr" anchorCtr="0">
            <a:noAutofit/>
          </a:bodyPr>
          <a:lstStyle/>
          <a:p>
            <a:pPr marL="0" lvl="0" indent="0" algn="ctr" defTabSz="6223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1200" dirty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인사</a:t>
            </a:r>
            <a:r>
              <a:rPr lang="en-US" altLang="ko-KR" sz="1200" dirty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HR)</a:t>
            </a:r>
            <a:endParaRPr lang="ko-KR" altLang="en-US" sz="1200" kern="1200" dirty="0">
              <a:solidFill>
                <a:schemeClr val="tx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cxnSp>
        <p:nvCxnSpPr>
          <p:cNvPr id="25" name="꺾인 연결선 24"/>
          <p:cNvCxnSpPr/>
          <p:nvPr/>
        </p:nvCxnSpPr>
        <p:spPr>
          <a:xfrm rot="5400000" flipH="1" flipV="1">
            <a:off x="6587382" y="4918555"/>
            <a:ext cx="712969" cy="97200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자유형 25"/>
          <p:cNvSpPr/>
          <p:nvPr/>
        </p:nvSpPr>
        <p:spPr>
          <a:xfrm>
            <a:off x="2347492" y="3228714"/>
            <a:ext cx="6037665" cy="288000"/>
          </a:xfrm>
          <a:custGeom>
            <a:avLst/>
            <a:gdLst>
              <a:gd name="connsiteX0" fmla="*/ 0 w 2342554"/>
              <a:gd name="connsiteY0" fmla="*/ 0 h 937021"/>
              <a:gd name="connsiteX1" fmla="*/ 187404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  <a:gd name="connsiteX0" fmla="*/ 0 w 2342554"/>
              <a:gd name="connsiteY0" fmla="*/ 0 h 937021"/>
              <a:gd name="connsiteX1" fmla="*/ 209313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  <a:gd name="connsiteX0" fmla="*/ 0 w 2342554"/>
              <a:gd name="connsiteY0" fmla="*/ 0 h 937021"/>
              <a:gd name="connsiteX1" fmla="*/ 2093134 w 2342554"/>
              <a:gd name="connsiteY1" fmla="*/ 0 h 937021"/>
              <a:gd name="connsiteX2" fmla="*/ 2342554 w 2342554"/>
              <a:gd name="connsiteY2" fmla="*/ 468511 h 937021"/>
              <a:gd name="connsiteX3" fmla="*/ 2088266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42554" h="937021">
                <a:moveTo>
                  <a:pt x="0" y="0"/>
                </a:moveTo>
                <a:lnTo>
                  <a:pt x="2093134" y="0"/>
                </a:lnTo>
                <a:lnTo>
                  <a:pt x="2342554" y="468511"/>
                </a:lnTo>
                <a:lnTo>
                  <a:pt x="2088266" y="937021"/>
                </a:lnTo>
                <a:lnTo>
                  <a:pt x="0" y="9370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676" tIns="37338" rIns="252924" bIns="37338" numCol="1" spcCol="1270" anchor="ctr" anchorCtr="0">
            <a:noAutofit/>
          </a:bodyPr>
          <a:lstStyle/>
          <a:p>
            <a:pPr marL="0" lvl="0" indent="0" algn="ctr" defTabSz="6223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1200" dirty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회계 및 경영관리</a:t>
            </a:r>
            <a:r>
              <a:rPr lang="en-US" altLang="ko-KR" sz="1200" dirty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</a:t>
            </a:r>
            <a:endParaRPr lang="ko-KR" altLang="en-US" sz="1200" kern="1200" dirty="0">
              <a:solidFill>
                <a:schemeClr val="tx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7" name="자유형 26"/>
          <p:cNvSpPr/>
          <p:nvPr/>
        </p:nvSpPr>
        <p:spPr>
          <a:xfrm>
            <a:off x="2347492" y="3548001"/>
            <a:ext cx="6037665" cy="288000"/>
          </a:xfrm>
          <a:custGeom>
            <a:avLst/>
            <a:gdLst>
              <a:gd name="connsiteX0" fmla="*/ 0 w 2342554"/>
              <a:gd name="connsiteY0" fmla="*/ 0 h 937021"/>
              <a:gd name="connsiteX1" fmla="*/ 187404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  <a:gd name="connsiteX0" fmla="*/ 0 w 2342554"/>
              <a:gd name="connsiteY0" fmla="*/ 0 h 937021"/>
              <a:gd name="connsiteX1" fmla="*/ 209313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  <a:gd name="connsiteX0" fmla="*/ 0 w 2342554"/>
              <a:gd name="connsiteY0" fmla="*/ 0 h 937021"/>
              <a:gd name="connsiteX1" fmla="*/ 2093134 w 2342554"/>
              <a:gd name="connsiteY1" fmla="*/ 0 h 937021"/>
              <a:gd name="connsiteX2" fmla="*/ 2342554 w 2342554"/>
              <a:gd name="connsiteY2" fmla="*/ 468511 h 937021"/>
              <a:gd name="connsiteX3" fmla="*/ 2088266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42554" h="937021">
                <a:moveTo>
                  <a:pt x="0" y="0"/>
                </a:moveTo>
                <a:lnTo>
                  <a:pt x="2093134" y="0"/>
                </a:lnTo>
                <a:lnTo>
                  <a:pt x="2342554" y="468511"/>
                </a:lnTo>
                <a:lnTo>
                  <a:pt x="2088266" y="937021"/>
                </a:lnTo>
                <a:lnTo>
                  <a:pt x="0" y="9370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676" tIns="37338" rIns="252924" bIns="37338" numCol="1" spcCol="1270" anchor="ctr" anchorCtr="0">
            <a:noAutofit/>
          </a:bodyPr>
          <a:lstStyle/>
          <a:p>
            <a:pPr marL="0" lvl="0" indent="0" algn="ctr" defTabSz="6223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1200" kern="1200" dirty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외협력</a:t>
            </a:r>
          </a:p>
        </p:txBody>
      </p:sp>
      <p:sp>
        <p:nvSpPr>
          <p:cNvPr id="28" name="자유형 27"/>
          <p:cNvSpPr/>
          <p:nvPr/>
        </p:nvSpPr>
        <p:spPr>
          <a:xfrm>
            <a:off x="2347492" y="3867288"/>
            <a:ext cx="6037665" cy="288000"/>
          </a:xfrm>
          <a:custGeom>
            <a:avLst/>
            <a:gdLst>
              <a:gd name="connsiteX0" fmla="*/ 0 w 2342554"/>
              <a:gd name="connsiteY0" fmla="*/ 0 h 937021"/>
              <a:gd name="connsiteX1" fmla="*/ 187404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  <a:gd name="connsiteX0" fmla="*/ 0 w 2342554"/>
              <a:gd name="connsiteY0" fmla="*/ 0 h 937021"/>
              <a:gd name="connsiteX1" fmla="*/ 209313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  <a:gd name="connsiteX0" fmla="*/ 0 w 2342554"/>
              <a:gd name="connsiteY0" fmla="*/ 0 h 937021"/>
              <a:gd name="connsiteX1" fmla="*/ 2093134 w 2342554"/>
              <a:gd name="connsiteY1" fmla="*/ 0 h 937021"/>
              <a:gd name="connsiteX2" fmla="*/ 2342554 w 2342554"/>
              <a:gd name="connsiteY2" fmla="*/ 468511 h 937021"/>
              <a:gd name="connsiteX3" fmla="*/ 2088266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42554" h="937021">
                <a:moveTo>
                  <a:pt x="0" y="0"/>
                </a:moveTo>
                <a:lnTo>
                  <a:pt x="2093134" y="0"/>
                </a:lnTo>
                <a:lnTo>
                  <a:pt x="2342554" y="468511"/>
                </a:lnTo>
                <a:lnTo>
                  <a:pt x="2088266" y="937021"/>
                </a:lnTo>
                <a:lnTo>
                  <a:pt x="0" y="9370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676" tIns="37338" rIns="252924" bIns="37338" numCol="1" spcCol="1270" anchor="ctr" anchorCtr="0">
            <a:noAutofit/>
          </a:bodyPr>
          <a:lstStyle/>
          <a:p>
            <a:pPr marL="0" lvl="0" indent="0" algn="ctr" defTabSz="6223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1200" kern="120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화주서비스관리</a:t>
            </a:r>
            <a:endParaRPr lang="ko-KR" altLang="en-US" sz="1200" kern="1200" dirty="0">
              <a:solidFill>
                <a:schemeClr val="tx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9" name="자유형 28"/>
          <p:cNvSpPr/>
          <p:nvPr/>
        </p:nvSpPr>
        <p:spPr>
          <a:xfrm>
            <a:off x="2347492" y="4186574"/>
            <a:ext cx="6037665" cy="288000"/>
          </a:xfrm>
          <a:custGeom>
            <a:avLst/>
            <a:gdLst>
              <a:gd name="connsiteX0" fmla="*/ 0 w 2342554"/>
              <a:gd name="connsiteY0" fmla="*/ 0 h 937021"/>
              <a:gd name="connsiteX1" fmla="*/ 187404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  <a:gd name="connsiteX0" fmla="*/ 0 w 2342554"/>
              <a:gd name="connsiteY0" fmla="*/ 0 h 937021"/>
              <a:gd name="connsiteX1" fmla="*/ 2093134 w 2342554"/>
              <a:gd name="connsiteY1" fmla="*/ 0 h 937021"/>
              <a:gd name="connsiteX2" fmla="*/ 2342554 w 2342554"/>
              <a:gd name="connsiteY2" fmla="*/ 468511 h 937021"/>
              <a:gd name="connsiteX3" fmla="*/ 1874044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  <a:gd name="connsiteX0" fmla="*/ 0 w 2342554"/>
              <a:gd name="connsiteY0" fmla="*/ 0 h 937021"/>
              <a:gd name="connsiteX1" fmla="*/ 2093134 w 2342554"/>
              <a:gd name="connsiteY1" fmla="*/ 0 h 937021"/>
              <a:gd name="connsiteX2" fmla="*/ 2342554 w 2342554"/>
              <a:gd name="connsiteY2" fmla="*/ 468511 h 937021"/>
              <a:gd name="connsiteX3" fmla="*/ 2088266 w 2342554"/>
              <a:gd name="connsiteY3" fmla="*/ 937021 h 937021"/>
              <a:gd name="connsiteX4" fmla="*/ 0 w 2342554"/>
              <a:gd name="connsiteY4" fmla="*/ 937021 h 937021"/>
              <a:gd name="connsiteX5" fmla="*/ 0 w 2342554"/>
              <a:gd name="connsiteY5" fmla="*/ 0 h 937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42554" h="937021">
                <a:moveTo>
                  <a:pt x="0" y="0"/>
                </a:moveTo>
                <a:lnTo>
                  <a:pt x="2093134" y="0"/>
                </a:lnTo>
                <a:lnTo>
                  <a:pt x="2342554" y="468511"/>
                </a:lnTo>
                <a:lnTo>
                  <a:pt x="2088266" y="937021"/>
                </a:lnTo>
                <a:lnTo>
                  <a:pt x="0" y="9370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676" tIns="37338" rIns="252924" bIns="37338" numCol="1" spcCol="1270" anchor="ctr" anchorCtr="0">
            <a:noAutofit/>
          </a:bodyPr>
          <a:lstStyle/>
          <a:p>
            <a:pPr marL="0" lvl="0" indent="0" algn="ctr" defTabSz="622300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ko-KR" altLang="en-US" sz="1200" kern="1200" dirty="0"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화물 감독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1518943" y="2909427"/>
            <a:ext cx="621668" cy="920168"/>
          </a:xfrm>
          <a:prstGeom prst="rect">
            <a:avLst/>
          </a:prstGeom>
          <a:solidFill>
            <a:srgbClr val="363A94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3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경영</a:t>
            </a:r>
            <a:endParaRPr lang="en-US" altLang="ko-KR" sz="1300" b="1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/>
            <a:r>
              <a:rPr lang="ko-KR" altLang="en-US" sz="1300" b="1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지원</a:t>
            </a:r>
            <a:endParaRPr lang="ko-KR" altLang="en-US" sz="1300" b="1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1518943" y="3869031"/>
            <a:ext cx="621668" cy="607286"/>
          </a:xfrm>
          <a:prstGeom prst="rect">
            <a:avLst/>
          </a:prstGeom>
          <a:solidFill>
            <a:srgbClr val="363A94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3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송</a:t>
            </a:r>
            <a:endParaRPr lang="en-US" altLang="ko-KR" sz="1300" b="1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/>
            <a:r>
              <a:rPr lang="ko-KR" altLang="en-US" sz="1300" b="1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지원</a:t>
            </a:r>
            <a:endParaRPr lang="ko-KR" altLang="en-US" sz="1300" b="1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1518377" y="4515753"/>
            <a:ext cx="622800" cy="1756531"/>
          </a:xfrm>
          <a:prstGeom prst="rect">
            <a:avLst/>
          </a:prstGeom>
          <a:solidFill>
            <a:srgbClr val="363A94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3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본원</a:t>
            </a:r>
            <a:endParaRPr lang="en-US" altLang="ko-KR" sz="1300" b="1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/>
            <a:r>
              <a:rPr lang="ko-KR" altLang="en-US" sz="1300" b="1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활동</a:t>
            </a:r>
            <a:endParaRPr lang="ko-KR" altLang="en-US" sz="1300" b="1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cxnSp>
        <p:nvCxnSpPr>
          <p:cNvPr id="40" name="직선 화살표 연결선 39"/>
          <p:cNvCxnSpPr/>
          <p:nvPr/>
        </p:nvCxnSpPr>
        <p:spPr>
          <a:xfrm flipH="1" flipV="1">
            <a:off x="6456363" y="5048240"/>
            <a:ext cx="2736" cy="7128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직사각형 44"/>
          <p:cNvSpPr/>
          <p:nvPr/>
        </p:nvSpPr>
        <p:spPr>
          <a:xfrm>
            <a:off x="731543" y="2909426"/>
            <a:ext cx="621668" cy="3362857"/>
          </a:xfrm>
          <a:prstGeom prst="rect">
            <a:avLst/>
          </a:prstGeom>
          <a:solidFill>
            <a:schemeClr val="bg2">
              <a:lumMod val="9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</a:t>
            </a:r>
            <a:endParaRPr lang="en-US" altLang="ko-KR" sz="1400" b="1" dirty="0">
              <a:solidFill>
                <a:schemeClr val="tx1">
                  <a:lumMod val="95000"/>
                  <a:lumOff val="5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/>
            <a:r>
              <a:rPr lang="ko-KR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상선</a:t>
            </a:r>
            <a:endParaRPr lang="en-US" altLang="ko-KR" sz="1400" b="1" dirty="0">
              <a:solidFill>
                <a:schemeClr val="tx1">
                  <a:lumMod val="95000"/>
                  <a:lumOff val="5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/>
            <a:r>
              <a:rPr lang="ko-KR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가치</a:t>
            </a:r>
            <a:endParaRPr lang="en-US" altLang="ko-KR" sz="1400" b="1" dirty="0">
              <a:solidFill>
                <a:schemeClr val="tx1">
                  <a:lumMod val="95000"/>
                  <a:lumOff val="5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/>
            <a:r>
              <a:rPr lang="ko-KR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사슬</a:t>
            </a:r>
          </a:p>
        </p:txBody>
      </p:sp>
    </p:spTree>
    <p:extLst>
      <p:ext uri="{BB962C8B-B14F-4D97-AF65-F5344CB8AC3E}">
        <p14:creationId xmlns:p14="http://schemas.microsoft.com/office/powerpoint/2010/main" val="3160537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30123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 환경 분석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28474" y="81879"/>
            <a:ext cx="1366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3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474565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 환경 분석 시사점 </a:t>
            </a: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Value Chain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372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가치사슬 분석을 통해 현대상선의 강점과 약점을 도출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2150" y="3165596"/>
            <a:ext cx="3752849" cy="310820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</a:ln>
        </p:spPr>
        <p:txBody>
          <a:bodyPr wrap="square" lIns="72000" tIns="72000" rIns="0" bIns="0" rtlCol="0" anchor="t">
            <a:noAutofit/>
          </a:bodyPr>
          <a:lstStyle/>
          <a:p>
            <a:pPr marL="177800" indent="-177800" defTabSz="914400" latinLnBrk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endParaRPr kumimoji="1" lang="en-US" altLang="ko-KR" sz="1200" b="1" dirty="0">
              <a:solidFill>
                <a:srgbClr val="363A94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8" name="직사각형 51"/>
          <p:cNvSpPr/>
          <p:nvPr/>
        </p:nvSpPr>
        <p:spPr bwMode="auto">
          <a:xfrm>
            <a:off x="692150" y="2912708"/>
            <a:ext cx="3752849" cy="252000"/>
          </a:xfrm>
          <a:prstGeom prst="rect">
            <a:avLst/>
          </a:prstGeom>
          <a:solidFill>
            <a:srgbClr val="363A94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1" hangingPunct="0">
              <a:lnSpc>
                <a:spcPct val="130000"/>
              </a:lnSpc>
              <a:spcBef>
                <a:spcPts val="200"/>
              </a:spcBef>
              <a:spcAft>
                <a:spcPts val="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강점</a:t>
            </a:r>
            <a:r>
              <a:rPr kumimoji="1" lang="en-US" altLang="ko-KR" sz="1200" b="1" kern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Strength)</a:t>
            </a:r>
            <a:endParaRPr kumimoji="1" lang="ko-KR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779964" y="3165596"/>
            <a:ext cx="3752849" cy="310820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</a:ln>
        </p:spPr>
        <p:txBody>
          <a:bodyPr wrap="square" lIns="72000" tIns="72000" rIns="0" bIns="0" rtlCol="0" anchor="t">
            <a:noAutofit/>
          </a:bodyPr>
          <a:lstStyle/>
          <a:p>
            <a:pPr marL="177800" indent="-177800" defTabSz="914400" latinLnBrk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endParaRPr kumimoji="1" lang="ko-KR" altLang="en-US" sz="1200" b="1" dirty="0">
              <a:solidFill>
                <a:srgbClr val="363A94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2" name="직사각형 51"/>
          <p:cNvSpPr/>
          <p:nvPr/>
        </p:nvSpPr>
        <p:spPr bwMode="auto">
          <a:xfrm>
            <a:off x="4779964" y="2912708"/>
            <a:ext cx="3752849" cy="252000"/>
          </a:xfrm>
          <a:prstGeom prst="rect">
            <a:avLst/>
          </a:prstGeom>
          <a:solidFill>
            <a:srgbClr val="363A94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 eaLnBrk="0" latinLnBrk="1" hangingPunct="0">
              <a:lnSpc>
                <a:spcPct val="130000"/>
              </a:lnSpc>
              <a:spcBef>
                <a:spcPts val="200"/>
              </a:spcBef>
              <a:buClr>
                <a:srgbClr val="006699"/>
              </a:buClr>
              <a:defRPr/>
            </a:pPr>
            <a:r>
              <a:rPr kumimoji="1" lang="ko-KR" altLang="en-US" sz="1200" b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약점</a:t>
            </a:r>
            <a:r>
              <a:rPr kumimoji="1" lang="en-US" altLang="ko-KR" sz="1200" b="1" kern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Weakness)</a:t>
            </a:r>
            <a:endParaRPr kumimoji="1" lang="ko-KR" altLang="en-US" sz="1200" b="1" kern="0" dirty="0">
              <a:solidFill>
                <a:srgbClr val="FFFFFF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999189" y="3655545"/>
            <a:ext cx="1411200" cy="628763"/>
            <a:chOff x="1237170" y="4553031"/>
            <a:chExt cx="1858301" cy="628763"/>
          </a:xfrm>
        </p:grpSpPr>
        <p:sp>
          <p:nvSpPr>
            <p:cNvPr id="18" name="TextBox 17"/>
            <p:cNvSpPr txBox="1"/>
            <p:nvPr/>
          </p:nvSpPr>
          <p:spPr>
            <a:xfrm>
              <a:off x="1237170" y="4935573"/>
              <a:ext cx="1858301" cy="246221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171450" indent="-171450" defTabSz="914400">
                <a:buFont typeface="Arial" panose="020B0604020202020204" pitchFamily="34" charset="0"/>
                <a:buChar char="•"/>
                <a:defRPr sz="1000" kern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defRPr>
              </a:lvl1pPr>
            </a:lstStyle>
            <a:p>
              <a:r>
                <a:rPr lang="ko-KR" altLang="en-US" dirty="0"/>
                <a:t>한진해운 자산 흡수 노력</a:t>
              </a:r>
              <a:endParaRPr lang="en-US" altLang="ko-KR" dirty="0"/>
            </a:p>
          </p:txBody>
        </p:sp>
        <p:sp>
          <p:nvSpPr>
            <p:cNvPr id="19" name="모서리가 둥근 직사각형 18"/>
            <p:cNvSpPr/>
            <p:nvPr/>
          </p:nvSpPr>
          <p:spPr>
            <a:xfrm>
              <a:off x="1237170" y="4553031"/>
              <a:ext cx="1858301" cy="368380"/>
            </a:xfrm>
            <a:prstGeom prst="roundRect">
              <a:avLst>
                <a:gd name="adj" fmla="val 0"/>
              </a:avLst>
            </a:prstGeom>
            <a:solidFill>
              <a:srgbClr val="00B0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ko-KR" altLang="en-US" sz="1400" b="1" kern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rPr>
                <a:t>한진해운 </a:t>
              </a:r>
              <a:r>
                <a:rPr lang="en-US" altLang="ko-KR" sz="1400" b="1" kern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rPr>
                <a:t>P&amp;A</a:t>
              </a:r>
              <a:endPara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endParaRPr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2726760" y="3655545"/>
            <a:ext cx="1411200" cy="782652"/>
            <a:chOff x="1237170" y="4553031"/>
            <a:chExt cx="1411200" cy="782652"/>
          </a:xfrm>
        </p:grpSpPr>
        <p:sp>
          <p:nvSpPr>
            <p:cNvPr id="21" name="TextBox 20"/>
            <p:cNvSpPr txBox="1"/>
            <p:nvPr/>
          </p:nvSpPr>
          <p:spPr>
            <a:xfrm>
              <a:off x="1237170" y="4935573"/>
              <a:ext cx="1411200" cy="40011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171450" indent="-171450" defTabSz="914400">
                <a:buFont typeface="Arial" panose="020B0604020202020204" pitchFamily="34" charset="0"/>
                <a:buChar char="•"/>
                <a:defRPr sz="1000" kern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defRPr>
              </a:lvl1pPr>
            </a:lstStyle>
            <a:p>
              <a:r>
                <a:rPr lang="ko-KR" altLang="en-US" dirty="0"/>
                <a:t>선박의 대형화</a:t>
              </a:r>
              <a:endParaRPr lang="en-US" altLang="ko-KR"/>
            </a:p>
            <a:p>
              <a:r>
                <a:rPr lang="ko-KR" altLang="en-US"/>
                <a:t>서비스 관련 기술 개발</a:t>
              </a:r>
              <a:endParaRPr lang="en-US" altLang="ko-KR" dirty="0"/>
            </a:p>
          </p:txBody>
        </p:sp>
        <p:sp>
          <p:nvSpPr>
            <p:cNvPr id="22" name="모서리가 둥근 직사각형 21"/>
            <p:cNvSpPr/>
            <p:nvPr/>
          </p:nvSpPr>
          <p:spPr>
            <a:xfrm>
              <a:off x="1237170" y="4553031"/>
              <a:ext cx="1411200" cy="368380"/>
            </a:xfrm>
            <a:prstGeom prst="roundRect">
              <a:avLst>
                <a:gd name="adj" fmla="val 0"/>
              </a:avLst>
            </a:prstGeom>
            <a:solidFill>
              <a:srgbClr val="00B0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r>
                <a:rPr lang="ko-KR" altLang="en-US" sz="1400" b="1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rPr>
                <a:t>기술개발</a:t>
              </a:r>
              <a:endPara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endParaRPr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999189" y="4845659"/>
            <a:ext cx="1412154" cy="628763"/>
            <a:chOff x="1237168" y="4553031"/>
            <a:chExt cx="2133256" cy="628763"/>
          </a:xfrm>
        </p:grpSpPr>
        <p:sp>
          <p:nvSpPr>
            <p:cNvPr id="26" name="TextBox 25"/>
            <p:cNvSpPr txBox="1"/>
            <p:nvPr/>
          </p:nvSpPr>
          <p:spPr>
            <a:xfrm>
              <a:off x="1237168" y="4935573"/>
              <a:ext cx="2133254" cy="246221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171450" indent="-171450" defTabSz="914400">
                <a:buFont typeface="Arial" panose="020B0604020202020204" pitchFamily="34" charset="0"/>
                <a:buChar char="•"/>
                <a:defRPr sz="1000" kern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defRPr>
              </a:lvl1pPr>
            </a:lstStyle>
            <a:p>
              <a:r>
                <a:rPr lang="ko-KR" altLang="en-US" dirty="0"/>
                <a:t>컨테이너 운임 증가 예상</a:t>
              </a:r>
              <a:endParaRPr lang="en-US" altLang="ko-KR" dirty="0"/>
            </a:p>
          </p:txBody>
        </p:sp>
        <p:sp>
          <p:nvSpPr>
            <p:cNvPr id="27" name="모서리가 둥근 직사각형 26"/>
            <p:cNvSpPr/>
            <p:nvPr/>
          </p:nvSpPr>
          <p:spPr>
            <a:xfrm>
              <a:off x="1237170" y="4553031"/>
              <a:ext cx="2133254" cy="368380"/>
            </a:xfrm>
            <a:prstGeom prst="roundRect">
              <a:avLst>
                <a:gd name="adj" fmla="val 0"/>
              </a:avLst>
            </a:prstGeom>
            <a:solidFill>
              <a:srgbClr val="00B0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ko-KR" altLang="en-US" sz="1400" b="1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rPr>
                <a:t>높은 시장 민감도</a:t>
              </a:r>
              <a:endPara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endParaRPr>
            </a:p>
          </p:txBody>
        </p:sp>
      </p:grpSp>
      <p:grpSp>
        <p:nvGrpSpPr>
          <p:cNvPr id="47" name="그룹 46"/>
          <p:cNvGrpSpPr/>
          <p:nvPr/>
        </p:nvGrpSpPr>
        <p:grpSpPr>
          <a:xfrm>
            <a:off x="5086532" y="3655545"/>
            <a:ext cx="3139712" cy="2126654"/>
            <a:chOff x="5086532" y="3782545"/>
            <a:chExt cx="3139712" cy="2126654"/>
          </a:xfrm>
        </p:grpSpPr>
        <p:grpSp>
          <p:nvGrpSpPr>
            <p:cNvPr id="28" name="그룹 27"/>
            <p:cNvGrpSpPr/>
            <p:nvPr/>
          </p:nvGrpSpPr>
          <p:grpSpPr>
            <a:xfrm>
              <a:off x="5086532" y="3782545"/>
              <a:ext cx="1412152" cy="782652"/>
              <a:chOff x="1237170" y="4553031"/>
              <a:chExt cx="2133254" cy="782652"/>
            </a:xfrm>
          </p:grpSpPr>
          <p:sp>
            <p:nvSpPr>
              <p:cNvPr id="29" name="TextBox 28"/>
              <p:cNvSpPr txBox="1"/>
              <p:nvPr/>
            </p:nvSpPr>
            <p:spPr>
              <a:xfrm>
                <a:off x="1237172" y="4935573"/>
                <a:ext cx="2133252" cy="400110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171450" indent="-171450" defTabSz="914400">
                  <a:buFont typeface="Arial" panose="020B0604020202020204" pitchFamily="34" charset="0"/>
                  <a:buChar char="•"/>
                  <a:defRPr/>
                </a:pPr>
                <a:r>
                  <a:rPr lang="ko-KR" altLang="en-US" sz="1000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해운업 시황에 대한 높은 민감도</a:t>
                </a:r>
                <a:endParaRPr lang="en-US" altLang="ko-KR" sz="1000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endParaRPr>
              </a:p>
            </p:txBody>
          </p:sp>
          <p:sp>
            <p:nvSpPr>
              <p:cNvPr id="30" name="모서리가 둥근 직사각형 29"/>
              <p:cNvSpPr/>
              <p:nvPr/>
            </p:nvSpPr>
            <p:spPr>
              <a:xfrm>
                <a:off x="1237170" y="4553031"/>
                <a:ext cx="2133254" cy="368380"/>
              </a:xfrm>
              <a:prstGeom prst="roundRect">
                <a:avLst>
                  <a:gd name="adj" fmla="val 0"/>
                </a:avLst>
              </a:prstGeom>
              <a:solidFill>
                <a:srgbClr val="00B0F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>
                  <a:defRPr/>
                </a:pPr>
                <a:r>
                  <a:rPr lang="ko-KR" altLang="en-US" sz="1400" b="1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높은 시장 민감도</a:t>
                </a:r>
                <a:endParaRPr lang="en-US" altLang="ko-KR" sz="1400" b="1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endParaRPr>
              </a:p>
            </p:txBody>
          </p:sp>
        </p:grpSp>
        <p:grpSp>
          <p:nvGrpSpPr>
            <p:cNvPr id="31" name="그룹 30"/>
            <p:cNvGrpSpPr/>
            <p:nvPr/>
          </p:nvGrpSpPr>
          <p:grpSpPr>
            <a:xfrm>
              <a:off x="6814090" y="3782545"/>
              <a:ext cx="1412154" cy="936540"/>
              <a:chOff x="1237168" y="4553031"/>
              <a:chExt cx="2133256" cy="936540"/>
            </a:xfrm>
          </p:grpSpPr>
          <p:sp>
            <p:nvSpPr>
              <p:cNvPr id="32" name="TextBox 31"/>
              <p:cNvSpPr txBox="1"/>
              <p:nvPr/>
            </p:nvSpPr>
            <p:spPr>
              <a:xfrm>
                <a:off x="1237168" y="4935573"/>
                <a:ext cx="2133254" cy="553998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>
                <a:defPPr>
                  <a:defRPr lang="en-US"/>
                </a:defPPr>
                <a:lvl1pPr marL="171450" indent="-171450" defTabSz="914400">
                  <a:buFont typeface="Arial" panose="020B0604020202020204" pitchFamily="34" charset="0"/>
                  <a:buChar char="•"/>
                  <a:defRPr sz="1000" kern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defRPr>
                </a:lvl1pPr>
              </a:lstStyle>
              <a:p>
                <a:r>
                  <a:rPr lang="ko-KR" altLang="en-US" dirty="0"/>
                  <a:t>유동성 추가 확보 필요</a:t>
                </a:r>
                <a:endParaRPr lang="en-US" altLang="ko-KR" dirty="0"/>
              </a:p>
              <a:p>
                <a:r>
                  <a:rPr lang="ko-KR" altLang="en-US" dirty="0"/>
                  <a:t>부채비율</a:t>
                </a:r>
                <a:r>
                  <a:rPr lang="en-US" altLang="ko-KR" dirty="0"/>
                  <a:t>/</a:t>
                </a:r>
                <a:r>
                  <a:rPr lang="ko-KR" altLang="en-US"/>
                  <a:t>순이익율 </a:t>
                </a:r>
                <a:r>
                  <a:rPr lang="ko-KR" altLang="en-US" dirty="0"/>
                  <a:t>추가 </a:t>
                </a:r>
                <a:r>
                  <a:rPr lang="ko-KR" altLang="en-US"/>
                  <a:t>개선 필요</a:t>
                </a:r>
                <a:endParaRPr lang="en-US" altLang="ko-KR" dirty="0"/>
              </a:p>
            </p:txBody>
          </p:sp>
          <p:sp>
            <p:nvSpPr>
              <p:cNvPr id="33" name="모서리가 둥근 직사각형 32"/>
              <p:cNvSpPr/>
              <p:nvPr/>
            </p:nvSpPr>
            <p:spPr>
              <a:xfrm>
                <a:off x="1237170" y="4553031"/>
                <a:ext cx="2133254" cy="368380"/>
              </a:xfrm>
              <a:prstGeom prst="roundRect">
                <a:avLst>
                  <a:gd name="adj" fmla="val 0"/>
                </a:avLst>
              </a:prstGeom>
              <a:solidFill>
                <a:srgbClr val="00B0F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/>
                <a:r>
                  <a:rPr lang="ko-KR" altLang="en-US" sz="1400" b="1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재정적 문제</a:t>
                </a:r>
                <a:endParaRPr lang="en-US" altLang="ko-KR" sz="1400" b="1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endParaRPr>
              </a:p>
            </p:txBody>
          </p:sp>
        </p:grpSp>
        <p:grpSp>
          <p:nvGrpSpPr>
            <p:cNvPr id="45" name="그룹 44"/>
            <p:cNvGrpSpPr/>
            <p:nvPr/>
          </p:nvGrpSpPr>
          <p:grpSpPr>
            <a:xfrm>
              <a:off x="5086532" y="4972659"/>
              <a:ext cx="1412154" cy="782652"/>
              <a:chOff x="5086532" y="5118981"/>
              <a:chExt cx="1412154" cy="782652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5086532" y="5501523"/>
                <a:ext cx="1412154" cy="400110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>
                <a:defPPr>
                  <a:defRPr lang="en-US"/>
                </a:defPPr>
                <a:lvl1pPr marL="171450" indent="-171450" defTabSz="914400">
                  <a:buFont typeface="Arial" panose="020B0604020202020204" pitchFamily="34" charset="0"/>
                  <a:buChar char="•"/>
                  <a:defRPr sz="1000" kern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defRPr>
                </a:lvl1pPr>
              </a:lstStyle>
              <a:p>
                <a:r>
                  <a:rPr lang="ko-KR" altLang="en-US" dirty="0"/>
                  <a:t>사업부 정리 및 구조조정</a:t>
                </a:r>
                <a:endParaRPr lang="en-US" altLang="ko-KR"/>
              </a:p>
              <a:p>
                <a:r>
                  <a:rPr lang="ko-KR" altLang="en-US"/>
                  <a:t>선박 처분</a:t>
                </a:r>
                <a:endParaRPr lang="en-US" altLang="ko-KR" dirty="0"/>
              </a:p>
            </p:txBody>
          </p:sp>
          <p:sp>
            <p:nvSpPr>
              <p:cNvPr id="36" name="모서리가 둥근 직사각형 35"/>
              <p:cNvSpPr/>
              <p:nvPr/>
            </p:nvSpPr>
            <p:spPr>
              <a:xfrm>
                <a:off x="5086532" y="5118981"/>
                <a:ext cx="1412153" cy="368380"/>
              </a:xfrm>
              <a:prstGeom prst="roundRect">
                <a:avLst>
                  <a:gd name="adj" fmla="val 0"/>
                </a:avLst>
              </a:prstGeom>
              <a:solidFill>
                <a:srgbClr val="00B0F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/>
                <a:r>
                  <a:rPr lang="ko-KR" altLang="en-US" sz="1400" b="1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규모 축소</a:t>
                </a:r>
                <a:endParaRPr lang="en-US" altLang="ko-KR" sz="1400" b="1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endParaRPr>
              </a:p>
            </p:txBody>
          </p:sp>
        </p:grpSp>
        <p:grpSp>
          <p:nvGrpSpPr>
            <p:cNvPr id="44" name="그룹 43"/>
            <p:cNvGrpSpPr/>
            <p:nvPr/>
          </p:nvGrpSpPr>
          <p:grpSpPr>
            <a:xfrm>
              <a:off x="6814090" y="4972659"/>
              <a:ext cx="1412154" cy="936540"/>
              <a:chOff x="6814090" y="5118981"/>
              <a:chExt cx="1412154" cy="936540"/>
            </a:xfrm>
          </p:grpSpPr>
          <p:sp>
            <p:nvSpPr>
              <p:cNvPr id="38" name="TextBox 37"/>
              <p:cNvSpPr txBox="1"/>
              <p:nvPr/>
            </p:nvSpPr>
            <p:spPr>
              <a:xfrm>
                <a:off x="6814090" y="5501523"/>
                <a:ext cx="1412153" cy="553998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>
                <a:defPPr>
                  <a:defRPr lang="en-US"/>
                </a:defPPr>
                <a:lvl1pPr marL="171450" indent="-171450" defTabSz="914400">
                  <a:buFont typeface="Arial" panose="020B0604020202020204" pitchFamily="34" charset="0"/>
                  <a:buChar char="•"/>
                  <a:defRPr sz="1000" kern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defRPr>
                </a:lvl1pPr>
              </a:lstStyle>
              <a:p>
                <a:r>
                  <a:rPr lang="ko-KR" altLang="en-US" dirty="0"/>
                  <a:t>어려운 차별화 서비스 제공</a:t>
                </a:r>
                <a:endParaRPr lang="en-US" altLang="ko-KR" dirty="0"/>
              </a:p>
              <a:p>
                <a:r>
                  <a:rPr lang="ko-KR" altLang="en-US" dirty="0"/>
                  <a:t>편향된 항로 운영</a:t>
                </a:r>
                <a:endParaRPr lang="en-US" altLang="ko-KR" dirty="0"/>
              </a:p>
            </p:txBody>
          </p:sp>
          <p:sp>
            <p:nvSpPr>
              <p:cNvPr id="39" name="모서리가 둥근 직사각형 38"/>
              <p:cNvSpPr/>
              <p:nvPr/>
            </p:nvSpPr>
            <p:spPr>
              <a:xfrm>
                <a:off x="6814091" y="5118981"/>
                <a:ext cx="1412153" cy="368380"/>
              </a:xfrm>
              <a:prstGeom prst="roundRect">
                <a:avLst>
                  <a:gd name="adj" fmla="val 0"/>
                </a:avLst>
              </a:prstGeom>
              <a:solidFill>
                <a:srgbClr val="00B0F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/>
                <a:r>
                  <a:rPr lang="ko-KR" altLang="en-US" sz="1400" b="1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안정성 저하</a:t>
                </a:r>
                <a:endParaRPr lang="en-US" altLang="ko-KR" sz="1400" b="1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endParaRPr>
              </a:p>
            </p:txBody>
          </p:sp>
        </p:grpSp>
      </p:grpSp>
      <p:grpSp>
        <p:nvGrpSpPr>
          <p:cNvPr id="34" name="그룹 33"/>
          <p:cNvGrpSpPr/>
          <p:nvPr/>
        </p:nvGrpSpPr>
        <p:grpSpPr>
          <a:xfrm>
            <a:off x="2725806" y="4845659"/>
            <a:ext cx="1412154" cy="782652"/>
            <a:chOff x="1237168" y="4553031"/>
            <a:chExt cx="2133256" cy="782652"/>
          </a:xfrm>
        </p:grpSpPr>
        <p:sp>
          <p:nvSpPr>
            <p:cNvPr id="37" name="TextBox 36"/>
            <p:cNvSpPr txBox="1"/>
            <p:nvPr/>
          </p:nvSpPr>
          <p:spPr>
            <a:xfrm>
              <a:off x="1237168" y="4935573"/>
              <a:ext cx="2133254" cy="40011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>
              <a:defPPr>
                <a:defRPr lang="en-US"/>
              </a:defPPr>
              <a:lvl1pPr marL="171450" indent="-171450" defTabSz="914400">
                <a:buFont typeface="Arial" panose="020B0604020202020204" pitchFamily="34" charset="0"/>
                <a:buChar char="•"/>
                <a:defRPr sz="1000" kern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defRPr>
              </a:lvl1pPr>
            </a:lstStyle>
            <a:p>
              <a:r>
                <a:rPr lang="ko-KR" altLang="en-US" dirty="0"/>
                <a:t>조직개편</a:t>
              </a:r>
              <a:endParaRPr lang="en-US" altLang="ko-KR" dirty="0"/>
            </a:p>
            <a:p>
              <a:r>
                <a:rPr lang="ko-KR" altLang="en-US" dirty="0"/>
                <a:t>해운동맹 가입</a:t>
              </a:r>
              <a:endParaRPr lang="en-US" altLang="ko-KR" dirty="0"/>
            </a:p>
          </p:txBody>
        </p:sp>
        <p:sp>
          <p:nvSpPr>
            <p:cNvPr id="40" name="모서리가 둥근 직사각형 39"/>
            <p:cNvSpPr/>
            <p:nvPr/>
          </p:nvSpPr>
          <p:spPr>
            <a:xfrm>
              <a:off x="1237170" y="4553031"/>
              <a:ext cx="2133254" cy="368380"/>
            </a:xfrm>
            <a:prstGeom prst="roundRect">
              <a:avLst>
                <a:gd name="adj" fmla="val 0"/>
              </a:avLst>
            </a:prstGeom>
            <a:solidFill>
              <a:srgbClr val="00B0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ko-KR" altLang="en-US" sz="1400" b="1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rPr>
                <a:t>안정성 관리</a:t>
              </a:r>
              <a:endPara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2294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084" y="2862322"/>
            <a:ext cx="3981916" cy="3770253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2363" y="2862321"/>
            <a:ext cx="3778644" cy="355192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59309" y="191063"/>
            <a:ext cx="30123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 환경 분석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5897" y="1351125"/>
            <a:ext cx="474565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 환경 분석 시사점 </a:t>
            </a: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Value Chain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65896" y="1842443"/>
            <a:ext cx="7866917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가치사슬 분석을 통한 강점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28474" y="81879"/>
            <a:ext cx="1366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3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</a:p>
        </p:txBody>
      </p:sp>
    </p:spTree>
    <p:extLst>
      <p:ext uri="{BB962C8B-B14F-4D97-AF65-F5344CB8AC3E}">
        <p14:creationId xmlns:p14="http://schemas.microsoft.com/office/powerpoint/2010/main" val="3342012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9309" y="191063"/>
            <a:ext cx="30123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 환경 분석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65897" y="1351125"/>
            <a:ext cx="474565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 환경 분석 시사점 </a:t>
            </a: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Value Chain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65896" y="1842443"/>
            <a:ext cx="7866917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가치사슬 분석을 통한 강점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213" y="2889250"/>
            <a:ext cx="3887787" cy="3419475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2363" y="2879724"/>
            <a:ext cx="3740990" cy="342900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528474" y="81879"/>
            <a:ext cx="1366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3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</a:p>
        </p:txBody>
      </p:sp>
    </p:spTree>
    <p:extLst>
      <p:ext uri="{BB962C8B-B14F-4D97-AF65-F5344CB8AC3E}">
        <p14:creationId xmlns:p14="http://schemas.microsoft.com/office/powerpoint/2010/main" val="4160867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9309" y="191063"/>
            <a:ext cx="30123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 환경 분석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65897" y="1351125"/>
            <a:ext cx="474565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 환경 분석 시사점 </a:t>
            </a: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Value Chain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65896" y="1842443"/>
            <a:ext cx="7866917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가치사슬 분석을 통한 약점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213" y="2889249"/>
            <a:ext cx="3887787" cy="3419476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2362" y="2889249"/>
            <a:ext cx="3635376" cy="357878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528474" y="81879"/>
            <a:ext cx="1366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3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</a:p>
        </p:txBody>
      </p:sp>
    </p:spTree>
    <p:extLst>
      <p:ext uri="{BB962C8B-B14F-4D97-AF65-F5344CB8AC3E}">
        <p14:creationId xmlns:p14="http://schemas.microsoft.com/office/powerpoint/2010/main" val="2001034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관련 이미지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2" t="10779" r="1215" b="10480"/>
          <a:stretch/>
        </p:blipFill>
        <p:spPr bwMode="auto">
          <a:xfrm>
            <a:off x="7139293" y="255489"/>
            <a:ext cx="1831975" cy="400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직사각형 4"/>
          <p:cNvSpPr/>
          <p:nvPr/>
        </p:nvSpPr>
        <p:spPr>
          <a:xfrm>
            <a:off x="1330054" y="2366683"/>
            <a:ext cx="6494929" cy="2238327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60311" y="2524836"/>
            <a:ext cx="1941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ONTENTS :</a:t>
            </a:r>
            <a:endParaRPr lang="ko-KR" altLang="en-US" sz="2400" b="1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18462" y="2418246"/>
            <a:ext cx="1922321" cy="21698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>
              <a:lnSpc>
                <a:spcPct val="150000"/>
              </a:lnSpc>
              <a:buAutoNum type="romanU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 개요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AutoNum type="romanUcPeriod"/>
            </a:pPr>
            <a:r>
              <a:rPr lang="en-US" altLang="ko-KR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History </a:t>
            </a: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AutoNum type="romanU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AutoNum type="romanU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적 시사점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AutoNum type="romanU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20477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9309" y="191063"/>
            <a:ext cx="30123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 환경 분석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65897" y="1351125"/>
            <a:ext cx="474565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부 환경 분석 시사점 </a:t>
            </a: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Value Chain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65896" y="1842443"/>
            <a:ext cx="7866917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가치사슬 분석을 통한 약점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895" y="2889250"/>
            <a:ext cx="3771633" cy="3419475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2363" y="2873842"/>
            <a:ext cx="3740990" cy="357878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528474" y="81879"/>
            <a:ext cx="1366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3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</a:p>
        </p:txBody>
      </p:sp>
    </p:spTree>
    <p:extLst>
      <p:ext uri="{BB962C8B-B14F-4D97-AF65-F5344CB8AC3E}">
        <p14:creationId xmlns:p14="http://schemas.microsoft.com/office/powerpoint/2010/main" val="1680421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30123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28474" y="81879"/>
            <a:ext cx="1366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3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146912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ESTA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695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EST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인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olitical, Economic, Social, Technological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에서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업의 특징인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Alliance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를 추가하여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ESTA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 실시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12" name="Group 5"/>
          <p:cNvGrpSpPr>
            <a:grpSpLocks/>
          </p:cNvGrpSpPr>
          <p:nvPr/>
        </p:nvGrpSpPr>
        <p:grpSpPr bwMode="auto">
          <a:xfrm>
            <a:off x="2143125" y="2436419"/>
            <a:ext cx="4860928" cy="3868739"/>
            <a:chOff x="1241" y="899"/>
            <a:chExt cx="3062" cy="2437"/>
          </a:xfrm>
        </p:grpSpPr>
        <p:sp>
          <p:nvSpPr>
            <p:cNvPr id="13" name="Oval 6"/>
            <p:cNvSpPr>
              <a:spLocks noChangeArrowheads="1"/>
            </p:cNvSpPr>
            <p:nvPr/>
          </p:nvSpPr>
          <p:spPr bwMode="auto">
            <a:xfrm>
              <a:off x="1686" y="1167"/>
              <a:ext cx="2167" cy="2017"/>
            </a:xfrm>
            <a:prstGeom prst="ellipse">
              <a:avLst/>
            </a:prstGeom>
            <a:noFill/>
            <a:ln w="57150">
              <a:solidFill>
                <a:schemeClr val="accent5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바른고딕" panose="020B0603020101020101" pitchFamily="50" charset="-127"/>
                <a:ea typeface="宋体" panose="02010600030101010101" pitchFamily="2" charset="-122"/>
              </a:endParaRPr>
            </a:p>
          </p:txBody>
        </p:sp>
        <p:grpSp>
          <p:nvGrpSpPr>
            <p:cNvPr id="14" name="Group 7"/>
            <p:cNvGrpSpPr>
              <a:grpSpLocks/>
            </p:cNvGrpSpPr>
            <p:nvPr/>
          </p:nvGrpSpPr>
          <p:grpSpPr bwMode="auto">
            <a:xfrm>
              <a:off x="2997" y="2656"/>
              <a:ext cx="897" cy="680"/>
              <a:chOff x="2440" y="1842"/>
              <a:chExt cx="880" cy="1132"/>
            </a:xfrm>
          </p:grpSpPr>
          <p:sp>
            <p:nvSpPr>
              <p:cNvPr id="40" name="Oval 8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blackWhite">
              <a:xfrm>
                <a:off x="2545" y="1842"/>
                <a:ext cx="668" cy="1132"/>
              </a:xfrm>
              <a:prstGeom prst="ellipse">
                <a:avLst/>
              </a:prstGeom>
              <a:solidFill>
                <a:srgbClr val="363A94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ffectLst>
                <a:outerShdw dist="25400" dir="5400000" algn="ctr" rotWithShape="0">
                  <a:srgbClr val="000000"/>
                </a:outerShdw>
              </a:effec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41" name="Rectangle 9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1pPr>
                <a:lvl2pPr marL="742950" indent="-28575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2pPr>
                <a:lvl3pPr marL="11430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3pPr>
                <a:lvl4pPr marL="16002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4pPr>
                <a:lvl5pPr marL="20574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9pPr>
              </a:lstStyle>
              <a:p>
                <a:pPr marL="0" marR="0" lvl="0" indent="0" algn="ctr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kumimoji="0" lang="en-US" altLang="ko-KR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Tech</a:t>
                </a:r>
              </a:p>
            </p:txBody>
          </p:sp>
        </p:grpSp>
        <p:grpSp>
          <p:nvGrpSpPr>
            <p:cNvPr id="15" name="Group 10"/>
            <p:cNvGrpSpPr>
              <a:grpSpLocks/>
            </p:cNvGrpSpPr>
            <p:nvPr/>
          </p:nvGrpSpPr>
          <p:grpSpPr bwMode="auto">
            <a:xfrm>
              <a:off x="1651" y="2654"/>
              <a:ext cx="897" cy="680"/>
              <a:chOff x="2440" y="1841"/>
              <a:chExt cx="880" cy="1132"/>
            </a:xfrm>
          </p:grpSpPr>
          <p:sp>
            <p:nvSpPr>
              <p:cNvPr id="38" name="Oval 11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blackWhite">
              <a:xfrm>
                <a:off x="2550" y="1841"/>
                <a:ext cx="668" cy="1132"/>
              </a:xfrm>
              <a:prstGeom prst="ellipse">
                <a:avLst/>
              </a:prstGeom>
              <a:solidFill>
                <a:srgbClr val="363A94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ffectLst>
                <a:outerShdw dist="25400" dir="5400000" algn="ctr" rotWithShape="0">
                  <a:srgbClr val="000000"/>
                </a:outerShdw>
              </a:effec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39" name="Rectangle 12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1pPr>
                <a:lvl2pPr marL="742950" indent="-28575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2pPr>
                <a:lvl3pPr marL="11430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3pPr>
                <a:lvl4pPr marL="16002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4pPr>
                <a:lvl5pPr marL="20574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9pPr>
              </a:lstStyle>
              <a:p>
                <a:pPr marL="0" marR="0" lvl="0" indent="0" algn="ctr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kumimoji="0" lang="en-US" altLang="ko-KR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Social</a:t>
                </a:r>
              </a:p>
            </p:txBody>
          </p:sp>
        </p:grpSp>
        <p:grpSp>
          <p:nvGrpSpPr>
            <p:cNvPr id="16" name="Group 13"/>
            <p:cNvGrpSpPr>
              <a:grpSpLocks/>
            </p:cNvGrpSpPr>
            <p:nvPr/>
          </p:nvGrpSpPr>
          <p:grpSpPr bwMode="auto">
            <a:xfrm>
              <a:off x="3406" y="1666"/>
              <a:ext cx="897" cy="680"/>
              <a:chOff x="2440" y="1868"/>
              <a:chExt cx="880" cy="1132"/>
            </a:xfrm>
          </p:grpSpPr>
          <p:sp>
            <p:nvSpPr>
              <p:cNvPr id="34" name="Oval 14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blackWhite">
              <a:xfrm>
                <a:off x="2521" y="1868"/>
                <a:ext cx="668" cy="1132"/>
              </a:xfrm>
              <a:prstGeom prst="ellipse">
                <a:avLst/>
              </a:prstGeom>
              <a:solidFill>
                <a:srgbClr val="00B0F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ffectLst>
                <a:outerShdw dist="25400" dir="5400000" algn="ctr" rotWithShape="0">
                  <a:srgbClr val="000000"/>
                </a:outerShdw>
              </a:effec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35" name="Rectangle 15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1pPr>
                <a:lvl2pPr marL="742950" indent="-28575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2pPr>
                <a:lvl3pPr marL="11430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3pPr>
                <a:lvl4pPr marL="16002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4pPr>
                <a:lvl5pPr marL="20574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9pPr>
              </a:lstStyle>
              <a:p>
                <a:pPr marL="0" marR="0" lvl="0" indent="0" algn="ctr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kumimoji="0" lang="en-US" altLang="ko-KR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Alliance</a:t>
                </a:r>
              </a:p>
            </p:txBody>
          </p:sp>
        </p:grpSp>
        <p:grpSp>
          <p:nvGrpSpPr>
            <p:cNvPr id="17" name="Group 16"/>
            <p:cNvGrpSpPr>
              <a:grpSpLocks/>
            </p:cNvGrpSpPr>
            <p:nvPr/>
          </p:nvGrpSpPr>
          <p:grpSpPr bwMode="auto">
            <a:xfrm>
              <a:off x="1241" y="1674"/>
              <a:ext cx="1994" cy="796"/>
              <a:chOff x="2440" y="1884"/>
              <a:chExt cx="1957" cy="1329"/>
            </a:xfrm>
          </p:grpSpPr>
          <p:sp>
            <p:nvSpPr>
              <p:cNvPr id="32" name="Oval 17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blackWhite">
              <a:xfrm>
                <a:off x="2544" y="1884"/>
                <a:ext cx="668" cy="1132"/>
              </a:xfrm>
              <a:prstGeom prst="ellipse">
                <a:avLst/>
              </a:prstGeom>
              <a:solidFill>
                <a:srgbClr val="363A94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ffectLst>
                <a:outerShdw dist="25400" dir="5400000" algn="ctr" rotWithShape="0">
                  <a:srgbClr val="000000"/>
                </a:outerShdw>
              </a:effec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33" name="Rectangle 18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1pPr>
                <a:lvl2pPr marL="742950" indent="-28575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2pPr>
                <a:lvl3pPr marL="11430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3pPr>
                <a:lvl4pPr marL="16002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4pPr>
                <a:lvl5pPr marL="20574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9pPr>
              </a:lstStyle>
              <a:p>
                <a:pPr marL="0" marR="0" lvl="0" indent="0" algn="ctr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lang="en-US" altLang="ko-KR" kern="0" dirty="0"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Economic</a:t>
                </a:r>
                <a:endParaRPr kumimoji="0" lang="en-US" altLang="ko-KR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42" name="Rectangle 18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blackWhite">
              <a:xfrm>
                <a:off x="3517" y="2333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1pPr>
                <a:lvl2pPr marL="742950" indent="-28575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2pPr>
                <a:lvl3pPr marL="11430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3pPr>
                <a:lvl4pPr marL="16002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4pPr>
                <a:lvl5pPr marL="20574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9pPr>
              </a:lstStyle>
              <a:p>
                <a:pPr marL="0" marR="0" lvl="0" indent="0" algn="ctr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lang="en-US" altLang="ko-KR" sz="2400" b="1" kern="0" dirty="0"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PESTA</a:t>
                </a:r>
                <a:endParaRPr kumimoji="0" lang="en-US" altLang="ko-KR" sz="2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</p:grpSp>
        <p:grpSp>
          <p:nvGrpSpPr>
            <p:cNvPr id="18" name="Group 19"/>
            <p:cNvGrpSpPr>
              <a:grpSpLocks/>
            </p:cNvGrpSpPr>
            <p:nvPr/>
          </p:nvGrpSpPr>
          <p:grpSpPr bwMode="auto">
            <a:xfrm>
              <a:off x="2297" y="899"/>
              <a:ext cx="896" cy="680"/>
              <a:chOff x="2440" y="1863"/>
              <a:chExt cx="880" cy="1132"/>
            </a:xfrm>
          </p:grpSpPr>
          <p:sp>
            <p:nvSpPr>
              <p:cNvPr id="30" name="Oval 20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blackWhite">
              <a:xfrm>
                <a:off x="2546" y="1863"/>
                <a:ext cx="668" cy="1132"/>
              </a:xfrm>
              <a:prstGeom prst="ellipse">
                <a:avLst/>
              </a:prstGeom>
              <a:solidFill>
                <a:srgbClr val="363A94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ffectLst>
                <a:outerShdw dist="25400" dir="5400000" algn="ctr" rotWithShape="0">
                  <a:srgbClr val="000000"/>
                </a:outerShdw>
              </a:effec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  <p:sp>
            <p:nvSpPr>
              <p:cNvPr id="31" name="Rectangle 21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blackWhite">
              <a:xfrm>
                <a:off x="2440" y="1989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1pPr>
                <a:lvl2pPr marL="742950" indent="-28575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2pPr>
                <a:lvl3pPr marL="11430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3pPr>
                <a:lvl4pPr marL="16002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4pPr>
                <a:lvl5pPr marL="2057400" indent="-228600" defTabSz="8953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-윤고딕130" pitchFamily="18" charset="-127"/>
                  </a:defRPr>
                </a:lvl9pPr>
              </a:lstStyle>
              <a:p>
                <a:pPr marL="0" marR="0" lvl="0" indent="0" algn="ctr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kumimoji="0" lang="en-US" altLang="ko-KR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Political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57985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30123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28474" y="81879"/>
            <a:ext cx="1366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3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464306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 시사점 </a:t>
            </a: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PESTA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 시사점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372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</a:t>
            </a:r>
            <a:r>
              <a:rPr lang="en-US" altLang="ko-KR" sz="1400" b="1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EST+Alliance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분석을 통해 현대상선의 기회와 위협을 도출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직사각형 51"/>
          <p:cNvSpPr/>
          <p:nvPr/>
        </p:nvSpPr>
        <p:spPr bwMode="auto">
          <a:xfrm>
            <a:off x="692150" y="2912708"/>
            <a:ext cx="3752849" cy="252000"/>
          </a:xfrm>
          <a:prstGeom prst="rect">
            <a:avLst/>
          </a:prstGeom>
          <a:solidFill>
            <a:srgbClr val="363A94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 eaLnBrk="0" latinLnBrk="1" hangingPunct="0">
              <a:lnSpc>
                <a:spcPct val="130000"/>
              </a:lnSpc>
              <a:spcBef>
                <a:spcPts val="200"/>
              </a:spcBef>
              <a:buClr>
                <a:srgbClr val="006699"/>
              </a:buClr>
              <a:defRPr/>
            </a:pPr>
            <a:r>
              <a:rPr kumimoji="1" lang="ko-KR" altLang="en-US" sz="1200" b="1" kern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기회</a:t>
            </a:r>
            <a:r>
              <a:rPr kumimoji="1" lang="en-US" altLang="ko-KR" sz="1200" b="1" kern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Opportunity)</a:t>
            </a:r>
            <a:endParaRPr kumimoji="1" lang="en-US" altLang="ko-KR" sz="1200" b="1" kern="0" dirty="0">
              <a:solidFill>
                <a:srgbClr val="FFFFFF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9" name="직사각형 51"/>
          <p:cNvSpPr/>
          <p:nvPr/>
        </p:nvSpPr>
        <p:spPr bwMode="auto">
          <a:xfrm>
            <a:off x="4779964" y="2912708"/>
            <a:ext cx="3752849" cy="252000"/>
          </a:xfrm>
          <a:prstGeom prst="rect">
            <a:avLst/>
          </a:prstGeom>
          <a:solidFill>
            <a:srgbClr val="363A94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 eaLnBrk="0" latinLnBrk="1" hangingPunct="0">
              <a:lnSpc>
                <a:spcPct val="130000"/>
              </a:lnSpc>
              <a:spcBef>
                <a:spcPts val="200"/>
              </a:spcBef>
              <a:buClr>
                <a:srgbClr val="006699"/>
              </a:buClr>
              <a:defRPr/>
            </a:pPr>
            <a:r>
              <a:rPr kumimoji="1" lang="ko-KR" altLang="en-US" sz="1200" b="1" kern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위협</a:t>
            </a:r>
            <a:r>
              <a:rPr kumimoji="1" lang="en-US" altLang="ko-KR" sz="1200" b="1" kern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Threaten)</a:t>
            </a:r>
            <a:endParaRPr kumimoji="1" lang="en-US" altLang="ko-KR" sz="1200" b="1" kern="0" dirty="0">
              <a:solidFill>
                <a:srgbClr val="FFFFFF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92150" y="3165596"/>
            <a:ext cx="3752849" cy="310820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</a:ln>
        </p:spPr>
        <p:txBody>
          <a:bodyPr wrap="square" lIns="72000" tIns="72000" rIns="0" bIns="0" rtlCol="0" anchor="t">
            <a:noAutofit/>
          </a:bodyPr>
          <a:lstStyle/>
          <a:p>
            <a:pPr marL="177800" indent="-177800" defTabSz="914400" latinLnBrk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endParaRPr kumimoji="1" lang="en-US" altLang="ko-KR" sz="1200" b="1" dirty="0">
              <a:solidFill>
                <a:srgbClr val="363A94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79964" y="3165596"/>
            <a:ext cx="3752849" cy="310820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</a:ln>
        </p:spPr>
        <p:txBody>
          <a:bodyPr wrap="square" lIns="72000" tIns="72000" rIns="0" bIns="0" rtlCol="0" anchor="t">
            <a:noAutofit/>
          </a:bodyPr>
          <a:lstStyle/>
          <a:p>
            <a:pPr marL="177800" indent="-177800" defTabSz="914400" latinLnBrk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endParaRPr kumimoji="1" lang="ko-KR" altLang="en-US" sz="1200" b="1" dirty="0">
              <a:solidFill>
                <a:srgbClr val="363A94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37" name="그룹 36"/>
          <p:cNvGrpSpPr/>
          <p:nvPr/>
        </p:nvGrpSpPr>
        <p:grpSpPr>
          <a:xfrm>
            <a:off x="999189" y="3655545"/>
            <a:ext cx="3138771" cy="2126654"/>
            <a:chOff x="999189" y="3782545"/>
            <a:chExt cx="3138771" cy="2126654"/>
          </a:xfrm>
        </p:grpSpPr>
        <p:grpSp>
          <p:nvGrpSpPr>
            <p:cNvPr id="38" name="그룹 37"/>
            <p:cNvGrpSpPr/>
            <p:nvPr/>
          </p:nvGrpSpPr>
          <p:grpSpPr>
            <a:xfrm>
              <a:off x="999189" y="3782545"/>
              <a:ext cx="1411200" cy="1090428"/>
              <a:chOff x="1237170" y="4553031"/>
              <a:chExt cx="1858301" cy="1090428"/>
            </a:xfrm>
          </p:grpSpPr>
          <p:sp>
            <p:nvSpPr>
              <p:cNvPr id="45" name="TextBox 44"/>
              <p:cNvSpPr txBox="1"/>
              <p:nvPr/>
            </p:nvSpPr>
            <p:spPr>
              <a:xfrm>
                <a:off x="1237170" y="4935573"/>
                <a:ext cx="1858301" cy="707886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>
                <a:defPPr>
                  <a:defRPr lang="en-US"/>
                </a:defPPr>
                <a:lvl1pPr marL="171450" indent="-171450" defTabSz="914400">
                  <a:buFont typeface="Arial" panose="020B0604020202020204" pitchFamily="34" charset="0"/>
                  <a:buChar char="•"/>
                  <a:defRPr sz="1000" kern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defRPr>
                </a:lvl1pPr>
              </a:lstStyle>
              <a:p>
                <a:r>
                  <a:rPr lang="ko-KR" altLang="en-US" dirty="0"/>
                  <a:t>자금 지원</a:t>
                </a:r>
                <a:endParaRPr lang="en-US" altLang="ko-KR" dirty="0"/>
              </a:p>
              <a:p>
                <a:r>
                  <a:rPr lang="ko-KR" altLang="en-US" dirty="0"/>
                  <a:t>펀드 활성화</a:t>
                </a:r>
                <a:endParaRPr lang="en-US" altLang="ko-KR" dirty="0"/>
              </a:p>
              <a:p>
                <a:r>
                  <a:rPr lang="ko-KR" altLang="en-US" dirty="0"/>
                  <a:t>시장 진출 지원</a:t>
                </a:r>
                <a:endParaRPr lang="en-US" altLang="ko-KR" dirty="0"/>
              </a:p>
              <a:p>
                <a:r>
                  <a:rPr lang="ko-KR" altLang="en-US" dirty="0"/>
                  <a:t>정부의 시장 개입</a:t>
                </a:r>
                <a:endParaRPr lang="en-US" altLang="ko-KR" dirty="0"/>
              </a:p>
            </p:txBody>
          </p:sp>
          <p:sp>
            <p:nvSpPr>
              <p:cNvPr id="46" name="모서리가 둥근 직사각형 45"/>
              <p:cNvSpPr/>
              <p:nvPr/>
            </p:nvSpPr>
            <p:spPr>
              <a:xfrm>
                <a:off x="1237170" y="4553031"/>
                <a:ext cx="1858301" cy="368380"/>
              </a:xfrm>
              <a:prstGeom prst="roundRect">
                <a:avLst>
                  <a:gd name="adj" fmla="val 0"/>
                </a:avLst>
              </a:prstGeom>
              <a:solidFill>
                <a:srgbClr val="00B0F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/>
                <a:r>
                  <a:rPr lang="ko-KR" altLang="en-US" sz="1400" b="1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정부 지원</a:t>
                </a:r>
                <a:endParaRPr lang="en-US" altLang="ko-KR" sz="1400" b="1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endParaRPr>
              </a:p>
            </p:txBody>
          </p:sp>
        </p:grpSp>
        <p:grpSp>
          <p:nvGrpSpPr>
            <p:cNvPr id="39" name="그룹 38"/>
            <p:cNvGrpSpPr/>
            <p:nvPr/>
          </p:nvGrpSpPr>
          <p:grpSpPr>
            <a:xfrm>
              <a:off x="2726760" y="3782545"/>
              <a:ext cx="1411200" cy="936540"/>
              <a:chOff x="1237170" y="4553031"/>
              <a:chExt cx="1411200" cy="936540"/>
            </a:xfrm>
          </p:grpSpPr>
          <p:sp>
            <p:nvSpPr>
              <p:cNvPr id="43" name="TextBox 42"/>
              <p:cNvSpPr txBox="1"/>
              <p:nvPr/>
            </p:nvSpPr>
            <p:spPr>
              <a:xfrm>
                <a:off x="1237170" y="4935573"/>
                <a:ext cx="1411200" cy="553998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>
                <a:defPPr>
                  <a:defRPr lang="en-US"/>
                </a:defPPr>
                <a:lvl1pPr marL="171450" indent="-171450" defTabSz="914400">
                  <a:buFont typeface="Arial" panose="020B0604020202020204" pitchFamily="34" charset="0"/>
                  <a:buChar char="•"/>
                  <a:defRPr sz="1000" kern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defRPr>
                </a:lvl1pPr>
              </a:lstStyle>
              <a:p>
                <a:r>
                  <a:rPr lang="ko-KR" altLang="en-US" dirty="0"/>
                  <a:t>해운업 시황 회복 기대</a:t>
                </a:r>
                <a:endParaRPr lang="en-US" altLang="ko-KR" dirty="0"/>
              </a:p>
              <a:p>
                <a:r>
                  <a:rPr lang="ko-KR" altLang="en-US" dirty="0"/>
                  <a:t>신흥시장 물동량 증가 추이</a:t>
                </a:r>
                <a:endParaRPr lang="en-US" altLang="ko-KR" dirty="0"/>
              </a:p>
            </p:txBody>
          </p:sp>
          <p:sp>
            <p:nvSpPr>
              <p:cNvPr id="44" name="모서리가 둥근 직사각형 43"/>
              <p:cNvSpPr/>
              <p:nvPr/>
            </p:nvSpPr>
            <p:spPr>
              <a:xfrm>
                <a:off x="1237170" y="4553031"/>
                <a:ext cx="1411200" cy="368380"/>
              </a:xfrm>
              <a:prstGeom prst="roundRect">
                <a:avLst>
                  <a:gd name="adj" fmla="val 0"/>
                </a:avLst>
              </a:prstGeom>
              <a:solidFill>
                <a:srgbClr val="00B0F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>
                  <a:defRPr/>
                </a:pPr>
                <a:r>
                  <a:rPr lang="ko-KR" altLang="en-US" sz="1400" b="1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해운업 시황</a:t>
                </a:r>
                <a:endParaRPr lang="en-US" altLang="ko-KR" sz="1400" b="1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endParaRPr>
              </a:p>
            </p:txBody>
          </p:sp>
        </p:grpSp>
        <p:grpSp>
          <p:nvGrpSpPr>
            <p:cNvPr id="40" name="그룹 39"/>
            <p:cNvGrpSpPr/>
            <p:nvPr/>
          </p:nvGrpSpPr>
          <p:grpSpPr>
            <a:xfrm>
              <a:off x="999189" y="4972659"/>
              <a:ext cx="1412154" cy="936540"/>
              <a:chOff x="1237168" y="4553031"/>
              <a:chExt cx="2133256" cy="936540"/>
            </a:xfrm>
          </p:grpSpPr>
          <p:sp>
            <p:nvSpPr>
              <p:cNvPr id="41" name="TextBox 40"/>
              <p:cNvSpPr txBox="1"/>
              <p:nvPr/>
            </p:nvSpPr>
            <p:spPr>
              <a:xfrm>
                <a:off x="1237168" y="4935573"/>
                <a:ext cx="2133254" cy="553998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>
                <a:defPPr>
                  <a:defRPr lang="en-US"/>
                </a:defPPr>
                <a:lvl1pPr marL="171450" indent="-171450" defTabSz="914400">
                  <a:buFont typeface="Arial" panose="020B0604020202020204" pitchFamily="34" charset="0"/>
                  <a:buChar char="•"/>
                  <a:defRPr sz="1000" kern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defRPr>
                </a:lvl1pPr>
              </a:lstStyle>
              <a:p>
                <a:r>
                  <a:rPr lang="en-US" altLang="ko-KR" dirty="0"/>
                  <a:t>2M </a:t>
                </a:r>
                <a:r>
                  <a:rPr lang="ko-KR" altLang="en-US" dirty="0"/>
                  <a:t>해운동맹 가입</a:t>
                </a:r>
                <a:endParaRPr lang="en-US" altLang="ko-KR" dirty="0"/>
              </a:p>
              <a:p>
                <a:r>
                  <a:rPr lang="ko-KR" altLang="en-US" dirty="0"/>
                  <a:t>국내선사와의 </a:t>
                </a:r>
                <a:r>
                  <a:rPr lang="en-US" altLang="ko-KR" dirty="0"/>
                  <a:t>mini </a:t>
                </a:r>
                <a:r>
                  <a:rPr lang="ko-KR" altLang="en-US" dirty="0"/>
                  <a:t>해운동맹 체결</a:t>
                </a:r>
                <a:endParaRPr lang="en-US" altLang="ko-KR" dirty="0"/>
              </a:p>
            </p:txBody>
          </p:sp>
          <p:sp>
            <p:nvSpPr>
              <p:cNvPr id="42" name="모서리가 둥근 직사각형 41"/>
              <p:cNvSpPr/>
              <p:nvPr/>
            </p:nvSpPr>
            <p:spPr>
              <a:xfrm>
                <a:off x="1237170" y="4553031"/>
                <a:ext cx="2133254" cy="368380"/>
              </a:xfrm>
              <a:prstGeom prst="roundRect">
                <a:avLst>
                  <a:gd name="adj" fmla="val 0"/>
                </a:avLst>
              </a:prstGeom>
              <a:solidFill>
                <a:srgbClr val="00B0F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/>
                <a:r>
                  <a:rPr lang="ko-KR" altLang="en-US" sz="1400" b="1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해운동맹</a:t>
                </a:r>
                <a:endParaRPr lang="en-US" altLang="ko-KR" sz="1400" b="1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endParaRPr>
              </a:p>
            </p:txBody>
          </p:sp>
        </p:grpSp>
      </p:grpSp>
      <p:grpSp>
        <p:nvGrpSpPr>
          <p:cNvPr id="47" name="그룹 46"/>
          <p:cNvGrpSpPr/>
          <p:nvPr/>
        </p:nvGrpSpPr>
        <p:grpSpPr>
          <a:xfrm>
            <a:off x="5086532" y="3655545"/>
            <a:ext cx="3139712" cy="2280542"/>
            <a:chOff x="5086532" y="3782545"/>
            <a:chExt cx="3139712" cy="2280542"/>
          </a:xfrm>
        </p:grpSpPr>
        <p:grpSp>
          <p:nvGrpSpPr>
            <p:cNvPr id="48" name="그룹 47"/>
            <p:cNvGrpSpPr/>
            <p:nvPr/>
          </p:nvGrpSpPr>
          <p:grpSpPr>
            <a:xfrm>
              <a:off x="5086532" y="3782545"/>
              <a:ext cx="1412152" cy="1090428"/>
              <a:chOff x="1237170" y="4553031"/>
              <a:chExt cx="2133254" cy="1090428"/>
            </a:xfrm>
          </p:grpSpPr>
          <p:sp>
            <p:nvSpPr>
              <p:cNvPr id="58" name="TextBox 57"/>
              <p:cNvSpPr txBox="1"/>
              <p:nvPr/>
            </p:nvSpPr>
            <p:spPr>
              <a:xfrm>
                <a:off x="1237172" y="4935573"/>
                <a:ext cx="2133252" cy="707886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171450" indent="-171450" defTabSz="914400">
                  <a:buFont typeface="Arial" panose="020B0604020202020204" pitchFamily="34" charset="0"/>
                  <a:buChar char="•"/>
                  <a:defRPr/>
                </a:pPr>
                <a:r>
                  <a:rPr lang="ko-KR" altLang="en-US" sz="1000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공급과잉으로 인한 원가경쟁</a:t>
                </a:r>
                <a:endParaRPr lang="en-US" altLang="ko-KR" sz="1000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endParaRPr>
              </a:p>
              <a:p>
                <a:pPr marL="171450" indent="-171450" defTabSz="914400">
                  <a:buFont typeface="Arial" panose="020B0604020202020204" pitchFamily="34" charset="0"/>
                  <a:buChar char="•"/>
                  <a:defRPr/>
                </a:pPr>
                <a:r>
                  <a:rPr lang="ko-KR" altLang="en-US" sz="1000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세계경제 회복 둔화 </a:t>
                </a:r>
                <a:r>
                  <a:rPr lang="en-US" altLang="ko-KR" sz="1000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+ </a:t>
                </a:r>
                <a:r>
                  <a:rPr lang="ko-KR" altLang="en-US" sz="1000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내수시장 위주의 정책</a:t>
                </a:r>
                <a:endParaRPr lang="en-US" altLang="ko-KR" sz="1000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endParaRPr>
              </a:p>
            </p:txBody>
          </p:sp>
          <p:sp>
            <p:nvSpPr>
              <p:cNvPr id="59" name="모서리가 둥근 직사각형 58"/>
              <p:cNvSpPr/>
              <p:nvPr/>
            </p:nvSpPr>
            <p:spPr>
              <a:xfrm>
                <a:off x="1237170" y="4553031"/>
                <a:ext cx="2133254" cy="368380"/>
              </a:xfrm>
              <a:prstGeom prst="roundRect">
                <a:avLst>
                  <a:gd name="adj" fmla="val 0"/>
                </a:avLst>
              </a:prstGeom>
              <a:solidFill>
                <a:srgbClr val="00B0F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>
                  <a:defRPr/>
                </a:pPr>
                <a:r>
                  <a:rPr lang="ko-KR" altLang="en-US" sz="1400" b="1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공급과잉</a:t>
                </a:r>
                <a:endParaRPr lang="en-US" altLang="ko-KR" sz="1400" b="1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endParaRPr>
              </a:p>
            </p:txBody>
          </p:sp>
        </p:grpSp>
        <p:grpSp>
          <p:nvGrpSpPr>
            <p:cNvPr id="49" name="그룹 48"/>
            <p:cNvGrpSpPr/>
            <p:nvPr/>
          </p:nvGrpSpPr>
          <p:grpSpPr>
            <a:xfrm>
              <a:off x="6814090" y="3782545"/>
              <a:ext cx="1412154" cy="1090428"/>
              <a:chOff x="1237168" y="4553031"/>
              <a:chExt cx="2133256" cy="1090428"/>
            </a:xfrm>
          </p:grpSpPr>
          <p:sp>
            <p:nvSpPr>
              <p:cNvPr id="56" name="TextBox 55"/>
              <p:cNvSpPr txBox="1"/>
              <p:nvPr/>
            </p:nvSpPr>
            <p:spPr>
              <a:xfrm>
                <a:off x="1237168" y="4935573"/>
                <a:ext cx="2133254" cy="707886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>
                <a:defPPr>
                  <a:defRPr lang="en-US"/>
                </a:defPPr>
                <a:lvl1pPr marL="171450" indent="-171450" defTabSz="914400">
                  <a:buFont typeface="Arial" panose="020B0604020202020204" pitchFamily="34" charset="0"/>
                  <a:buChar char="•"/>
                  <a:defRPr sz="1000" kern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defRPr>
                </a:lvl1pPr>
              </a:lstStyle>
              <a:p>
                <a:r>
                  <a:rPr lang="ko-KR" altLang="en-US" dirty="0"/>
                  <a:t>국외 화주에 대한 안정성 신뢰도 하락</a:t>
                </a:r>
                <a:endParaRPr lang="en-US" altLang="ko-KR" dirty="0"/>
              </a:p>
              <a:p>
                <a:r>
                  <a:rPr lang="ko-KR" altLang="en-US" dirty="0"/>
                  <a:t>국내 국민에 대한 신뢰도 하락</a:t>
                </a:r>
                <a:endParaRPr lang="en-US" altLang="ko-KR" dirty="0"/>
              </a:p>
            </p:txBody>
          </p:sp>
          <p:sp>
            <p:nvSpPr>
              <p:cNvPr id="57" name="모서리가 둥근 직사각형 56"/>
              <p:cNvSpPr/>
              <p:nvPr/>
            </p:nvSpPr>
            <p:spPr>
              <a:xfrm>
                <a:off x="1237170" y="4553031"/>
                <a:ext cx="2133254" cy="368380"/>
              </a:xfrm>
              <a:prstGeom prst="roundRect">
                <a:avLst>
                  <a:gd name="adj" fmla="val 0"/>
                </a:avLst>
              </a:prstGeom>
              <a:solidFill>
                <a:srgbClr val="00B0F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/>
                <a:r>
                  <a:rPr lang="ko-KR" altLang="en-US" sz="1400" b="1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신뢰도 하락</a:t>
                </a:r>
                <a:endParaRPr lang="en-US" altLang="ko-KR" sz="1400" b="1" kern="0" dirty="0">
                  <a:ln>
                    <a:solidFill>
                      <a:prstClr val="white">
                        <a:lumMod val="75000"/>
                        <a:alpha val="0"/>
                      </a:prstClr>
                    </a:solidFill>
                  </a:ln>
                  <a:solidFill>
                    <a:prstClr val="white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Arial" pitchFamily="34" charset="0"/>
                </a:endParaRPr>
              </a:p>
            </p:txBody>
          </p:sp>
        </p:grpSp>
        <p:grpSp>
          <p:nvGrpSpPr>
            <p:cNvPr id="50" name="그룹 49"/>
            <p:cNvGrpSpPr/>
            <p:nvPr/>
          </p:nvGrpSpPr>
          <p:grpSpPr>
            <a:xfrm>
              <a:off x="5086532" y="4972659"/>
              <a:ext cx="1412154" cy="1090428"/>
              <a:chOff x="5086532" y="5118981"/>
              <a:chExt cx="1412154" cy="1090428"/>
            </a:xfrm>
          </p:grpSpPr>
          <p:sp>
            <p:nvSpPr>
              <p:cNvPr id="54" name="TextBox 53"/>
              <p:cNvSpPr txBox="1"/>
              <p:nvPr/>
            </p:nvSpPr>
            <p:spPr>
              <a:xfrm>
                <a:off x="5086532" y="5501523"/>
                <a:ext cx="1412154" cy="707886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>
                <a:defPPr>
                  <a:defRPr lang="en-US"/>
                </a:defPPr>
                <a:lvl1pPr marL="171450" indent="-171450" defTabSz="914400">
                  <a:buFont typeface="Arial" panose="020B0604020202020204" pitchFamily="34" charset="0"/>
                  <a:buChar char="•"/>
                  <a:defRPr sz="1000" kern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defRPr>
                </a:lvl1pPr>
              </a:lstStyle>
              <a:p>
                <a:r>
                  <a:rPr lang="ko-KR" altLang="en-US" dirty="0"/>
                  <a:t>한진해운의 미주라인 흡수 실패</a:t>
                </a:r>
                <a:endParaRPr lang="en-US" altLang="ko-KR" dirty="0"/>
              </a:p>
              <a:p>
                <a:r>
                  <a:rPr lang="ko-KR" altLang="en-US" dirty="0"/>
                  <a:t>글로벌 선사간 </a:t>
                </a:r>
                <a:r>
                  <a:rPr lang="en-US" altLang="ko-KR" dirty="0"/>
                  <a:t>M&amp;A </a:t>
                </a:r>
                <a:r>
                  <a:rPr lang="ko-KR" altLang="en-US" dirty="0"/>
                  <a:t>실시</a:t>
                </a:r>
                <a:endParaRPr lang="en-US" altLang="ko-KR" dirty="0"/>
              </a:p>
            </p:txBody>
          </p:sp>
          <p:sp>
            <p:nvSpPr>
              <p:cNvPr id="55" name="모서리가 둥근 직사각형 54"/>
              <p:cNvSpPr/>
              <p:nvPr/>
            </p:nvSpPr>
            <p:spPr>
              <a:xfrm>
                <a:off x="5086532" y="5118981"/>
                <a:ext cx="1412153" cy="368380"/>
              </a:xfrm>
              <a:prstGeom prst="roundRect">
                <a:avLst>
                  <a:gd name="adj" fmla="val 0"/>
                </a:avLst>
              </a:prstGeom>
              <a:solidFill>
                <a:srgbClr val="00B0F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/>
                <a:r>
                  <a:rPr lang="en-US" altLang="ko-KR" sz="1400" b="1" kern="0" dirty="0">
                    <a:ln>
                      <a:solidFill>
                        <a:prstClr val="white">
                          <a:lumMod val="75000"/>
                          <a:alpha val="0"/>
                        </a:prstClr>
                      </a:solidFill>
                    </a:ln>
                    <a:solidFill>
                      <a:prstClr val="white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Arial" pitchFamily="34" charset="0"/>
                  </a:rPr>
                  <a:t>M&amp;A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62190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9309" y="191063"/>
            <a:ext cx="30123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528474" y="81879"/>
            <a:ext cx="1366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3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65897" y="1351125"/>
            <a:ext cx="464306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 시사점 </a:t>
            </a: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PESTA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 시사점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5896" y="1842443"/>
            <a:ext cx="7866917" cy="3593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</a:t>
            </a:r>
            <a:r>
              <a:rPr lang="en-US" altLang="ko-KR" sz="1400" b="1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EST+Alliance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분석을 통해 </a:t>
            </a: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기회</a:t>
            </a:r>
            <a:endParaRPr lang="en-US" altLang="ko-KR" sz="1400" b="1" dirty="0" smtClean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896" y="2889249"/>
            <a:ext cx="3906104" cy="3419475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2363" y="2905299"/>
            <a:ext cx="3600450" cy="3280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197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9309" y="191063"/>
            <a:ext cx="30123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528474" y="81879"/>
            <a:ext cx="1366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3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65897" y="1351125"/>
            <a:ext cx="464306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 시사점 </a:t>
            </a: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PESTA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 시사점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5896" y="1842443"/>
            <a:ext cx="7866917" cy="3593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</a:t>
            </a:r>
            <a:r>
              <a:rPr lang="en-US" altLang="ko-KR" sz="1400" b="1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EST+Alliance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분석을 통해 </a:t>
            </a: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기회</a:t>
            </a:r>
            <a:endParaRPr lang="en-US" altLang="ko-KR" sz="1400" b="1" dirty="0" smtClean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3739" y="2889250"/>
            <a:ext cx="4257247" cy="34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848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9309" y="191063"/>
            <a:ext cx="30123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528474" y="81879"/>
            <a:ext cx="1366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3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환경 분석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65897" y="1351125"/>
            <a:ext cx="464306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 시사점 </a:t>
            </a: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PESTA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 시사점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5896" y="1842443"/>
            <a:ext cx="7866917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</a:t>
            </a:r>
            <a:r>
              <a:rPr lang="en-US" altLang="ko-KR" sz="1400" b="1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EST+Alliance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분석을 통해 </a:t>
            </a: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</a:t>
            </a:r>
            <a:r>
              <a:rPr lang="ko-KR" altLang="en-US" sz="1400" b="1" dirty="0" smtClean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위협</a:t>
            </a:r>
            <a:endParaRPr lang="en-US" altLang="ko-KR" sz="1400" b="1" dirty="0" smtClean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271" y="2889250"/>
            <a:ext cx="3638083" cy="3419475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7300" y="2889250"/>
            <a:ext cx="3667125" cy="3486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401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1330054" y="2366683"/>
            <a:ext cx="6494929" cy="2238327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60311" y="2524836"/>
            <a:ext cx="1941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ONTENTS :</a:t>
            </a:r>
            <a:endParaRPr lang="ko-KR" altLang="en-US" sz="2400" b="1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18462" y="2418246"/>
            <a:ext cx="171226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en-US" altLang="ko-KR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WOT </a:t>
            </a: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당면 과제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79673" y="2986501"/>
            <a:ext cx="1871025" cy="4732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>
              <a:lnSpc>
                <a:spcPct val="150000"/>
              </a:lnSpc>
              <a:buFont typeface="+mj-lt"/>
              <a:buAutoNum type="romanUcPeriod" startAt="4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적 시사점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9" name="Picture 4" descr="관련 이미지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2" t="10779" r="1215" b="10480"/>
          <a:stretch/>
        </p:blipFill>
        <p:spPr bwMode="auto">
          <a:xfrm>
            <a:off x="7139293" y="255489"/>
            <a:ext cx="1831975" cy="400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0262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자유형 1"/>
          <p:cNvSpPr/>
          <p:nvPr/>
        </p:nvSpPr>
        <p:spPr>
          <a:xfrm>
            <a:off x="4216400" y="2895600"/>
            <a:ext cx="4318000" cy="3378200"/>
          </a:xfrm>
          <a:custGeom>
            <a:avLst/>
            <a:gdLst>
              <a:gd name="connsiteX0" fmla="*/ 0 w 4318000"/>
              <a:gd name="connsiteY0" fmla="*/ 1155700 h 3378200"/>
              <a:gd name="connsiteX1" fmla="*/ 495300 w 4318000"/>
              <a:gd name="connsiteY1" fmla="*/ 0 h 3378200"/>
              <a:gd name="connsiteX2" fmla="*/ 4318000 w 4318000"/>
              <a:gd name="connsiteY2" fmla="*/ 0 h 3378200"/>
              <a:gd name="connsiteX3" fmla="*/ 4318000 w 4318000"/>
              <a:gd name="connsiteY3" fmla="*/ 3378200 h 3378200"/>
              <a:gd name="connsiteX4" fmla="*/ 495300 w 4318000"/>
              <a:gd name="connsiteY4" fmla="*/ 3378200 h 3378200"/>
              <a:gd name="connsiteX5" fmla="*/ 12700 w 4318000"/>
              <a:gd name="connsiteY5" fmla="*/ 2209800 h 3378200"/>
              <a:gd name="connsiteX6" fmla="*/ 0 w 4318000"/>
              <a:gd name="connsiteY6" fmla="*/ 1155700 h 3378200"/>
              <a:gd name="connsiteX0" fmla="*/ 0 w 4318000"/>
              <a:gd name="connsiteY0" fmla="*/ 1155700 h 3378200"/>
              <a:gd name="connsiteX1" fmla="*/ 495300 w 4318000"/>
              <a:gd name="connsiteY1" fmla="*/ 0 h 3378200"/>
              <a:gd name="connsiteX2" fmla="*/ 4318000 w 4318000"/>
              <a:gd name="connsiteY2" fmla="*/ 0 h 3378200"/>
              <a:gd name="connsiteX3" fmla="*/ 4318000 w 4318000"/>
              <a:gd name="connsiteY3" fmla="*/ 3378200 h 3378200"/>
              <a:gd name="connsiteX4" fmla="*/ 476250 w 4318000"/>
              <a:gd name="connsiteY4" fmla="*/ 3378200 h 3378200"/>
              <a:gd name="connsiteX5" fmla="*/ 12700 w 4318000"/>
              <a:gd name="connsiteY5" fmla="*/ 2209800 h 3378200"/>
              <a:gd name="connsiteX6" fmla="*/ 0 w 4318000"/>
              <a:gd name="connsiteY6" fmla="*/ 1155700 h 3378200"/>
              <a:gd name="connsiteX0" fmla="*/ 0 w 4318000"/>
              <a:gd name="connsiteY0" fmla="*/ 1155700 h 3378200"/>
              <a:gd name="connsiteX1" fmla="*/ 476250 w 4318000"/>
              <a:gd name="connsiteY1" fmla="*/ 0 h 3378200"/>
              <a:gd name="connsiteX2" fmla="*/ 4318000 w 4318000"/>
              <a:gd name="connsiteY2" fmla="*/ 0 h 3378200"/>
              <a:gd name="connsiteX3" fmla="*/ 4318000 w 4318000"/>
              <a:gd name="connsiteY3" fmla="*/ 3378200 h 3378200"/>
              <a:gd name="connsiteX4" fmla="*/ 476250 w 4318000"/>
              <a:gd name="connsiteY4" fmla="*/ 3378200 h 3378200"/>
              <a:gd name="connsiteX5" fmla="*/ 12700 w 4318000"/>
              <a:gd name="connsiteY5" fmla="*/ 2209800 h 3378200"/>
              <a:gd name="connsiteX6" fmla="*/ 0 w 4318000"/>
              <a:gd name="connsiteY6" fmla="*/ 1155700 h 337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18000" h="3378200">
                <a:moveTo>
                  <a:pt x="0" y="1155700"/>
                </a:moveTo>
                <a:lnTo>
                  <a:pt x="476250" y="0"/>
                </a:lnTo>
                <a:lnTo>
                  <a:pt x="4318000" y="0"/>
                </a:lnTo>
                <a:lnTo>
                  <a:pt x="4318000" y="3378200"/>
                </a:lnTo>
                <a:lnTo>
                  <a:pt x="476250" y="3378200"/>
                </a:lnTo>
                <a:lnTo>
                  <a:pt x="12700" y="2209800"/>
                </a:lnTo>
                <a:lnTo>
                  <a:pt x="0" y="115570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259309" y="191063"/>
            <a:ext cx="264117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. SWOT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162989" y="81879"/>
            <a:ext cx="173156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4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적 시사점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143847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WOT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372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강점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약점과 기회를 이용하여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-O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과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W-O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을 도출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88748" y="3170716"/>
            <a:ext cx="3844066" cy="941588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</a:ln>
        </p:spPr>
        <p:txBody>
          <a:bodyPr wrap="square" lIns="72000" tIns="72000" rIns="0" bIns="0" rtlCol="0">
            <a:noAutofit/>
          </a:bodyPr>
          <a:lstStyle/>
          <a:p>
            <a:pPr marL="177800" marR="0" lvl="0" indent="-177800" defTabSz="9144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>
                <a:tab pos="180975" algn="l"/>
              </a:tabLst>
              <a:defRPr/>
            </a:pPr>
            <a:endParaRPr kumimoji="1" lang="en-US" altLang="ko-K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8" name="직사각형 51"/>
          <p:cNvSpPr/>
          <p:nvPr/>
        </p:nvSpPr>
        <p:spPr bwMode="auto">
          <a:xfrm>
            <a:off x="4688748" y="2889250"/>
            <a:ext cx="3844066" cy="288000"/>
          </a:xfrm>
          <a:prstGeom prst="rect">
            <a:avLst/>
          </a:prstGeom>
          <a:solidFill>
            <a:srgbClr val="363A94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latinLnBrk="1" hangingPunct="0">
              <a:lnSpc>
                <a:spcPct val="130000"/>
              </a:lnSpc>
              <a:spcBef>
                <a:spcPts val="200"/>
              </a:spcBef>
              <a:buClr>
                <a:srgbClr val="006699"/>
              </a:buClr>
            </a:pPr>
            <a:r>
              <a:rPr kumimoji="1" lang="en-US" altLang="ko-KR" sz="1200" b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-O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61495" y="3449576"/>
            <a:ext cx="3698572" cy="7001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lang="ko-KR" altLang="en-US" sz="1200" dirty="0"/>
              <a:t>정부지원과 </a:t>
            </a:r>
            <a:r>
              <a:rPr lang="ko-KR" altLang="en-US" sz="1200" dirty="0" err="1"/>
              <a:t>한진해운</a:t>
            </a:r>
            <a:r>
              <a:rPr lang="ko-KR" altLang="en-US" sz="1200" dirty="0"/>
              <a:t> 우량자산 인수를 통한 </a:t>
            </a:r>
            <a:r>
              <a:rPr lang="ko-KR" altLang="en-US" sz="1200" dirty="0" smtClean="0"/>
              <a:t>신뢰도와 안정성 향상</a:t>
            </a:r>
            <a:endParaRPr lang="en-US" altLang="ko-KR" sz="1200" dirty="0"/>
          </a:p>
          <a:p>
            <a:pPr marL="171450" indent="-17145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endParaRPr kumimoji="1" lang="en-US" altLang="ko-KR" sz="105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692906" y="2782145"/>
            <a:ext cx="3606134" cy="3535945"/>
            <a:chOff x="965866" y="2686609"/>
            <a:chExt cx="3606134" cy="353594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3445193" y="2710724"/>
              <a:ext cx="1071329" cy="1071329"/>
            </a:xfrm>
            <a:prstGeom prst="rect">
              <a:avLst/>
            </a:prstGeom>
            <a:solidFill>
              <a:srgbClr val="8FAADC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Weakness</a:t>
              </a:r>
            </a:p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200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약점</a:t>
              </a:r>
              <a:endParaRPr kumimoji="1" lang="en-US" altLang="ko-KR" sz="1200" kern="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2253072" y="2710724"/>
              <a:ext cx="1071329" cy="1071329"/>
            </a:xfrm>
            <a:prstGeom prst="rect">
              <a:avLst/>
            </a:prstGeom>
            <a:solidFill>
              <a:srgbClr val="8FAADC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Strength</a:t>
              </a:r>
            </a:p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200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강점</a:t>
              </a:r>
              <a:endParaRPr kumimoji="1" lang="en-US" altLang="ko-KR" sz="1200" kern="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1018792" y="5106442"/>
              <a:ext cx="1071329" cy="107132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87313" marR="0" lvl="0" indent="-87313" algn="ctr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Threaten</a:t>
              </a:r>
            </a:p>
            <a:p>
              <a:pPr marL="87313" marR="0" lvl="0" indent="-87313" algn="ctr" defTabSz="91440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위협</a:t>
              </a:r>
              <a:endParaRPr kumimoji="1" lang="en-US" altLang="ko-KR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1018792" y="3927899"/>
              <a:ext cx="1071329" cy="1071329"/>
            </a:xfrm>
            <a:prstGeom prst="rect">
              <a:avLst/>
            </a:prstGeom>
            <a:solidFill>
              <a:srgbClr val="8FAADC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Opportunity</a:t>
              </a:r>
            </a:p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200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기회</a:t>
              </a:r>
              <a:endParaRPr kumimoji="1" lang="en-US" altLang="ko-KR" sz="1200" kern="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/>
          </p:nvSpPr>
          <p:spPr bwMode="auto">
            <a:xfrm>
              <a:off x="2253072" y="3927899"/>
              <a:ext cx="1071329" cy="107132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lIns="72000" tIns="46800" rIns="72000" bIns="46800"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〔S-O </a:t>
              </a:r>
              <a:r>
                <a:rPr kumimoji="1" lang="ko-KR" altLang="en-US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전략</a:t>
              </a:r>
              <a:r>
                <a: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〕</a:t>
              </a:r>
            </a:p>
          </p:txBody>
        </p:sp>
        <p:sp>
          <p:nvSpPr>
            <p:cNvPr id="18" name="Rectangle 15"/>
            <p:cNvSpPr>
              <a:spLocks noChangeArrowheads="1"/>
            </p:cNvSpPr>
            <p:nvPr/>
          </p:nvSpPr>
          <p:spPr bwMode="auto">
            <a:xfrm>
              <a:off x="3445193" y="3927899"/>
              <a:ext cx="1071329" cy="107132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lIns="72000" tIns="46800" rIns="72000" bIns="46800"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〔W-O </a:t>
              </a:r>
              <a:r>
                <a:rPr kumimoji="1" lang="ko-KR" altLang="en-US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전략</a:t>
              </a:r>
              <a:r>
                <a: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〕</a:t>
              </a: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3445193" y="5106442"/>
              <a:ext cx="1071329" cy="107132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lIns="72000" tIns="46800" rIns="72000" bIns="46800"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b="1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〔W-T </a:t>
              </a:r>
              <a:r>
                <a:rPr kumimoji="1" lang="ko-KR" altLang="en-US" sz="1200" b="1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전략</a:t>
              </a:r>
              <a:r>
                <a:rPr kumimoji="1" lang="en-US" altLang="ko-KR" sz="1200" b="1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〕</a:t>
              </a:r>
            </a:p>
          </p:txBody>
        </p:sp>
        <p:sp>
          <p:nvSpPr>
            <p:cNvPr id="20" name="Rectangle 15"/>
            <p:cNvSpPr>
              <a:spLocks noChangeArrowheads="1"/>
            </p:cNvSpPr>
            <p:nvPr/>
          </p:nvSpPr>
          <p:spPr bwMode="auto">
            <a:xfrm>
              <a:off x="2253072" y="5106442"/>
              <a:ext cx="1071329" cy="107132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lIns="72000" tIns="46800" rIns="72000" bIns="46800"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b="1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〔S-T </a:t>
              </a:r>
              <a:r>
                <a:rPr kumimoji="1" lang="ko-KR" altLang="en-US" sz="1200" b="1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전략</a:t>
              </a:r>
              <a:r>
                <a:rPr kumimoji="1" lang="en-US" altLang="ko-KR" sz="1200" b="1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〕</a:t>
              </a:r>
            </a:p>
          </p:txBody>
        </p:sp>
        <p:grpSp>
          <p:nvGrpSpPr>
            <p:cNvPr id="21" name="그룹 20"/>
            <p:cNvGrpSpPr/>
            <p:nvPr/>
          </p:nvGrpSpPr>
          <p:grpSpPr>
            <a:xfrm>
              <a:off x="965866" y="2686609"/>
              <a:ext cx="1167333" cy="1134075"/>
              <a:chOff x="728585" y="2692129"/>
              <a:chExt cx="1255233" cy="1219471"/>
            </a:xfrm>
          </p:grpSpPr>
          <p:grpSp>
            <p:nvGrpSpPr>
              <p:cNvPr id="28" name="그룹 27"/>
              <p:cNvGrpSpPr/>
              <p:nvPr/>
            </p:nvGrpSpPr>
            <p:grpSpPr>
              <a:xfrm>
                <a:off x="780506" y="2718060"/>
                <a:ext cx="1183442" cy="1193540"/>
                <a:chOff x="780506" y="2718060"/>
                <a:chExt cx="1183442" cy="1193540"/>
              </a:xfrm>
            </p:grpSpPr>
            <p:sp>
              <p:nvSpPr>
                <p:cNvPr id="32" name="Rectangle 13"/>
                <p:cNvSpPr>
                  <a:spLocks noChangeArrowheads="1"/>
                </p:cNvSpPr>
                <p:nvPr/>
              </p:nvSpPr>
              <p:spPr bwMode="auto">
                <a:xfrm>
                  <a:off x="780506" y="2718060"/>
                  <a:ext cx="1152000" cy="1152000"/>
                </a:xfrm>
                <a:prstGeom prst="rect">
                  <a:avLst/>
                </a:prstGeom>
                <a:solidFill>
                  <a:srgbClr val="363A94"/>
                </a:solidFill>
                <a:ln w="9525" algn="ctr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  <a:extLst/>
              </p:spPr>
              <p:txBody>
                <a:bodyPr wrap="none" anchor="ctr"/>
                <a:lstStyle/>
                <a:p>
                  <a:pPr marL="0" marR="0" lvl="0" indent="0" algn="ctr" defTabSz="914400" eaLnBrk="0" fontAlgn="ctr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ko-KR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endParaRPr>
                </a:p>
              </p:txBody>
            </p:sp>
            <p:cxnSp>
              <p:nvCxnSpPr>
                <p:cNvPr id="33" name="직선 연결선 32"/>
                <p:cNvCxnSpPr/>
                <p:nvPr/>
              </p:nvCxnSpPr>
              <p:spPr>
                <a:xfrm>
                  <a:off x="780506" y="2718060"/>
                  <a:ext cx="596770" cy="1193540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직선 연결선 33"/>
                <p:cNvCxnSpPr/>
                <p:nvPr/>
              </p:nvCxnSpPr>
              <p:spPr>
                <a:xfrm>
                  <a:off x="780506" y="2718060"/>
                  <a:ext cx="1183442" cy="591721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9" name="TextBox 28"/>
              <p:cNvSpPr txBox="1"/>
              <p:nvPr/>
            </p:nvSpPr>
            <p:spPr>
              <a:xfrm>
                <a:off x="1468732" y="2692129"/>
                <a:ext cx="495049" cy="4964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87313" indent="-87313" algn="ctr" defTabSz="914400" fontAlgn="base" latinLnBrk="1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kern="0" dirty="0"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rPr>
                  <a:t>내부</a:t>
                </a:r>
                <a:endPara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endParaRPr>
              </a:p>
              <a:p>
                <a:pPr marL="87313" indent="-87313" algn="ctr" defTabSz="914400" fontAlgn="base" latinLnBrk="1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kern="0" dirty="0"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rPr>
                  <a:t>역량</a:t>
                </a: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728585" y="3386901"/>
                <a:ext cx="495049" cy="4964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87313" indent="-87313" algn="ctr" defTabSz="914400" fontAlgn="base" latinLnBrk="1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kern="0" dirty="0"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rPr>
                  <a:t>외부</a:t>
                </a:r>
                <a:endPara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endParaRPr>
              </a:p>
              <a:p>
                <a:pPr marL="87313" indent="-87313" algn="ctr" defTabSz="914400" fontAlgn="base" latinLnBrk="1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kern="0" dirty="0"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rPr>
                  <a:t>환경</a:t>
                </a: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1154369" y="3304601"/>
                <a:ext cx="829449" cy="4964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87313" indent="-87313" algn="ctr" defTabSz="914400" fontAlgn="base" latinLnBrk="1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kern="0" dirty="0"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rPr>
                  <a:t>전략 방향</a:t>
                </a:r>
                <a:endPara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endParaRPr>
              </a:p>
              <a:p>
                <a:pPr marL="87313" indent="-87313" algn="ctr" defTabSz="914400" fontAlgn="base" latinLnBrk="1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kern="0" dirty="0"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rPr>
                  <a:t>시사점</a:t>
                </a:r>
              </a:p>
            </p:txBody>
          </p:sp>
        </p:grpSp>
        <p:cxnSp>
          <p:nvCxnSpPr>
            <p:cNvPr id="22" name="직선 연결선 21"/>
            <p:cNvCxnSpPr/>
            <p:nvPr/>
          </p:nvCxnSpPr>
          <p:spPr>
            <a:xfrm>
              <a:off x="971550" y="3849259"/>
              <a:ext cx="36004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연결선 24"/>
            <p:cNvCxnSpPr/>
            <p:nvPr/>
          </p:nvCxnSpPr>
          <p:spPr>
            <a:xfrm>
              <a:off x="971550" y="5049409"/>
              <a:ext cx="36004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/>
            <p:cNvCxnSpPr/>
            <p:nvPr/>
          </p:nvCxnSpPr>
          <p:spPr>
            <a:xfrm>
              <a:off x="2170379" y="2701199"/>
              <a:ext cx="0" cy="352135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연결선 26"/>
            <p:cNvCxnSpPr/>
            <p:nvPr/>
          </p:nvCxnSpPr>
          <p:spPr>
            <a:xfrm>
              <a:off x="3389579" y="2701199"/>
              <a:ext cx="0" cy="352135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Box 34"/>
          <p:cNvSpPr txBox="1"/>
          <p:nvPr/>
        </p:nvSpPr>
        <p:spPr>
          <a:xfrm>
            <a:off x="4692623" y="4538200"/>
            <a:ext cx="3840190" cy="1735599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</a:ln>
        </p:spPr>
        <p:txBody>
          <a:bodyPr wrap="square" lIns="72000" tIns="72000" rIns="0" bIns="0" rtlCol="0">
            <a:noAutofit/>
          </a:bodyPr>
          <a:lstStyle/>
          <a:p>
            <a:pPr marL="177800" marR="0" lvl="0" indent="-177800" defTabSz="9144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>
                <a:tab pos="180975" algn="l"/>
              </a:tabLst>
              <a:defRPr/>
            </a:pPr>
            <a:endParaRPr kumimoji="1" lang="en-US" altLang="ko-KR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6" name="직사각형 51"/>
          <p:cNvSpPr/>
          <p:nvPr/>
        </p:nvSpPr>
        <p:spPr bwMode="auto">
          <a:xfrm>
            <a:off x="4692623" y="4256735"/>
            <a:ext cx="3840190" cy="288000"/>
          </a:xfrm>
          <a:prstGeom prst="rect">
            <a:avLst/>
          </a:prstGeom>
          <a:solidFill>
            <a:srgbClr val="363A94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latinLnBrk="1" hangingPunct="0">
              <a:lnSpc>
                <a:spcPct val="130000"/>
              </a:lnSpc>
              <a:spcBef>
                <a:spcPts val="200"/>
              </a:spcBef>
              <a:buClr>
                <a:srgbClr val="006699"/>
              </a:buClr>
            </a:pPr>
            <a:r>
              <a:rPr kumimoji="1" lang="en-US" altLang="ko-KR" sz="1200" b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W-O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748101" y="5044361"/>
            <a:ext cx="3797046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2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부의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지원을 통한을 통한</a:t>
            </a:r>
            <a:r>
              <a:rPr kumimoji="1" lang="en-US" altLang="ko-KR" sz="12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kumimoji="1" lang="ko-KR" altLang="en-US" sz="12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화주</a:t>
            </a:r>
            <a:r>
              <a:rPr kumimoji="1" lang="en-US" altLang="ko-KR" sz="12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</a:t>
            </a:r>
            <a:r>
              <a:rPr kumimoji="1" lang="ko-KR" altLang="en-US" sz="12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선사</a:t>
            </a:r>
            <a:r>
              <a:rPr kumimoji="1" lang="en-US" altLang="ko-KR" sz="12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kumimoji="1" lang="ko-KR" altLang="en-US" sz="12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네트워크 등</a:t>
            </a:r>
            <a:r>
              <a:rPr kumimoji="1" lang="en-US" altLang="ko-KR" sz="12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 </a:t>
            </a:r>
            <a:r>
              <a:rPr kumimoji="1" lang="ko-KR" altLang="en-US" sz="12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장 민감도 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응</a:t>
            </a:r>
            <a:r>
              <a:rPr kumimoji="1" lang="en-US" altLang="ko-KR" sz="1200" dirty="0" smtClean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재정문제 개선</a:t>
            </a:r>
            <a:endParaRPr kumimoji="1" lang="en-US" altLang="ko-KR" sz="12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동맹을 </a:t>
            </a:r>
            <a:r>
              <a:rPr kumimoji="1" lang="ko-KR" altLang="en-US" sz="12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통한 항로의 다양성 추구</a:t>
            </a:r>
          </a:p>
        </p:txBody>
      </p:sp>
    </p:spTree>
    <p:extLst>
      <p:ext uri="{BB962C8B-B14F-4D97-AF65-F5344CB8AC3E}">
        <p14:creationId xmlns:p14="http://schemas.microsoft.com/office/powerpoint/2010/main" val="594894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자유형 1"/>
          <p:cNvSpPr/>
          <p:nvPr/>
        </p:nvSpPr>
        <p:spPr>
          <a:xfrm>
            <a:off x="4243559" y="3741050"/>
            <a:ext cx="4295818" cy="2528289"/>
          </a:xfrm>
          <a:custGeom>
            <a:avLst/>
            <a:gdLst>
              <a:gd name="connsiteX0" fmla="*/ 0 w 4299045"/>
              <a:gd name="connsiteY0" fmla="*/ 1146412 h 2770496"/>
              <a:gd name="connsiteX1" fmla="*/ 464024 w 4299045"/>
              <a:gd name="connsiteY1" fmla="*/ 0 h 2770496"/>
              <a:gd name="connsiteX2" fmla="*/ 4299045 w 4299045"/>
              <a:gd name="connsiteY2" fmla="*/ 0 h 2770496"/>
              <a:gd name="connsiteX3" fmla="*/ 4299045 w 4299045"/>
              <a:gd name="connsiteY3" fmla="*/ 2770496 h 2770496"/>
              <a:gd name="connsiteX4" fmla="*/ 491319 w 4299045"/>
              <a:gd name="connsiteY4" fmla="*/ 2770496 h 2770496"/>
              <a:gd name="connsiteX5" fmla="*/ 13648 w 4299045"/>
              <a:gd name="connsiteY5" fmla="*/ 2183642 h 2770496"/>
              <a:gd name="connsiteX6" fmla="*/ 0 w 4299045"/>
              <a:gd name="connsiteY6" fmla="*/ 1146412 h 2770496"/>
              <a:gd name="connsiteX0" fmla="*/ 0 w 4299045"/>
              <a:gd name="connsiteY0" fmla="*/ 1146412 h 2770496"/>
              <a:gd name="connsiteX1" fmla="*/ 464024 w 4299045"/>
              <a:gd name="connsiteY1" fmla="*/ 0 h 2770496"/>
              <a:gd name="connsiteX2" fmla="*/ 4299045 w 4299045"/>
              <a:gd name="connsiteY2" fmla="*/ 0 h 2770496"/>
              <a:gd name="connsiteX3" fmla="*/ 4299045 w 4299045"/>
              <a:gd name="connsiteY3" fmla="*/ 2770496 h 2770496"/>
              <a:gd name="connsiteX4" fmla="*/ 462291 w 4299045"/>
              <a:gd name="connsiteY4" fmla="*/ 2509239 h 2770496"/>
              <a:gd name="connsiteX5" fmla="*/ 13648 w 4299045"/>
              <a:gd name="connsiteY5" fmla="*/ 2183642 h 2770496"/>
              <a:gd name="connsiteX6" fmla="*/ 0 w 4299045"/>
              <a:gd name="connsiteY6" fmla="*/ 1146412 h 2770496"/>
              <a:gd name="connsiteX0" fmla="*/ 0 w 4299045"/>
              <a:gd name="connsiteY0" fmla="*/ 1146412 h 2509239"/>
              <a:gd name="connsiteX1" fmla="*/ 464024 w 4299045"/>
              <a:gd name="connsiteY1" fmla="*/ 0 h 2509239"/>
              <a:gd name="connsiteX2" fmla="*/ 4299045 w 4299045"/>
              <a:gd name="connsiteY2" fmla="*/ 0 h 2509239"/>
              <a:gd name="connsiteX3" fmla="*/ 4299045 w 4299045"/>
              <a:gd name="connsiteY3" fmla="*/ 2509239 h 2509239"/>
              <a:gd name="connsiteX4" fmla="*/ 462291 w 4299045"/>
              <a:gd name="connsiteY4" fmla="*/ 2509239 h 2509239"/>
              <a:gd name="connsiteX5" fmla="*/ 13648 w 4299045"/>
              <a:gd name="connsiteY5" fmla="*/ 2183642 h 2509239"/>
              <a:gd name="connsiteX6" fmla="*/ 0 w 4299045"/>
              <a:gd name="connsiteY6" fmla="*/ 1146412 h 2509239"/>
              <a:gd name="connsiteX0" fmla="*/ 0 w 4299045"/>
              <a:gd name="connsiteY0" fmla="*/ 1146412 h 3364742"/>
              <a:gd name="connsiteX1" fmla="*/ 464024 w 4299045"/>
              <a:gd name="connsiteY1" fmla="*/ 0 h 3364742"/>
              <a:gd name="connsiteX2" fmla="*/ 4299045 w 4299045"/>
              <a:gd name="connsiteY2" fmla="*/ 0 h 3364742"/>
              <a:gd name="connsiteX3" fmla="*/ 4299045 w 4299045"/>
              <a:gd name="connsiteY3" fmla="*/ 2509239 h 3364742"/>
              <a:gd name="connsiteX4" fmla="*/ 462291 w 4299045"/>
              <a:gd name="connsiteY4" fmla="*/ 2509239 h 3364742"/>
              <a:gd name="connsiteX5" fmla="*/ 13648 w 4299045"/>
              <a:gd name="connsiteY5" fmla="*/ 3364742 h 3364742"/>
              <a:gd name="connsiteX6" fmla="*/ 0 w 4299045"/>
              <a:gd name="connsiteY6" fmla="*/ 1146412 h 3364742"/>
              <a:gd name="connsiteX0" fmla="*/ 6298 w 4286293"/>
              <a:gd name="connsiteY0" fmla="*/ 2346562 h 3364742"/>
              <a:gd name="connsiteX1" fmla="*/ 451272 w 4286293"/>
              <a:gd name="connsiteY1" fmla="*/ 0 h 3364742"/>
              <a:gd name="connsiteX2" fmla="*/ 4286293 w 4286293"/>
              <a:gd name="connsiteY2" fmla="*/ 0 h 3364742"/>
              <a:gd name="connsiteX3" fmla="*/ 4286293 w 4286293"/>
              <a:gd name="connsiteY3" fmla="*/ 2509239 h 3364742"/>
              <a:gd name="connsiteX4" fmla="*/ 449539 w 4286293"/>
              <a:gd name="connsiteY4" fmla="*/ 2509239 h 3364742"/>
              <a:gd name="connsiteX5" fmla="*/ 896 w 4286293"/>
              <a:gd name="connsiteY5" fmla="*/ 3364742 h 3364742"/>
              <a:gd name="connsiteX6" fmla="*/ 6298 w 4286293"/>
              <a:gd name="connsiteY6" fmla="*/ 2346562 h 3364742"/>
              <a:gd name="connsiteX0" fmla="*/ 6298 w 4286293"/>
              <a:gd name="connsiteY0" fmla="*/ 2346562 h 3364742"/>
              <a:gd name="connsiteX1" fmla="*/ 470322 w 4286293"/>
              <a:gd name="connsiteY1" fmla="*/ 923925 h 3364742"/>
              <a:gd name="connsiteX2" fmla="*/ 4286293 w 4286293"/>
              <a:gd name="connsiteY2" fmla="*/ 0 h 3364742"/>
              <a:gd name="connsiteX3" fmla="*/ 4286293 w 4286293"/>
              <a:gd name="connsiteY3" fmla="*/ 2509239 h 3364742"/>
              <a:gd name="connsiteX4" fmla="*/ 449539 w 4286293"/>
              <a:gd name="connsiteY4" fmla="*/ 2509239 h 3364742"/>
              <a:gd name="connsiteX5" fmla="*/ 896 w 4286293"/>
              <a:gd name="connsiteY5" fmla="*/ 3364742 h 3364742"/>
              <a:gd name="connsiteX6" fmla="*/ 6298 w 4286293"/>
              <a:gd name="connsiteY6" fmla="*/ 2346562 h 3364742"/>
              <a:gd name="connsiteX0" fmla="*/ 6298 w 4286293"/>
              <a:gd name="connsiteY0" fmla="*/ 1422637 h 2440817"/>
              <a:gd name="connsiteX1" fmla="*/ 470322 w 4286293"/>
              <a:gd name="connsiteY1" fmla="*/ 0 h 2440817"/>
              <a:gd name="connsiteX2" fmla="*/ 4276768 w 4286293"/>
              <a:gd name="connsiteY2" fmla="*/ 9525 h 2440817"/>
              <a:gd name="connsiteX3" fmla="*/ 4286293 w 4286293"/>
              <a:gd name="connsiteY3" fmla="*/ 1585314 h 2440817"/>
              <a:gd name="connsiteX4" fmla="*/ 449539 w 4286293"/>
              <a:gd name="connsiteY4" fmla="*/ 1585314 h 2440817"/>
              <a:gd name="connsiteX5" fmla="*/ 896 w 4286293"/>
              <a:gd name="connsiteY5" fmla="*/ 2440817 h 2440817"/>
              <a:gd name="connsiteX6" fmla="*/ 6298 w 4286293"/>
              <a:gd name="connsiteY6" fmla="*/ 1422637 h 2440817"/>
              <a:gd name="connsiteX0" fmla="*/ 6298 w 4286293"/>
              <a:gd name="connsiteY0" fmla="*/ 1422637 h 2518764"/>
              <a:gd name="connsiteX1" fmla="*/ 470322 w 4286293"/>
              <a:gd name="connsiteY1" fmla="*/ 0 h 2518764"/>
              <a:gd name="connsiteX2" fmla="*/ 4276768 w 4286293"/>
              <a:gd name="connsiteY2" fmla="*/ 9525 h 2518764"/>
              <a:gd name="connsiteX3" fmla="*/ 4286293 w 4286293"/>
              <a:gd name="connsiteY3" fmla="*/ 1585314 h 2518764"/>
              <a:gd name="connsiteX4" fmla="*/ 478114 w 4286293"/>
              <a:gd name="connsiteY4" fmla="*/ 2518764 h 2518764"/>
              <a:gd name="connsiteX5" fmla="*/ 896 w 4286293"/>
              <a:gd name="connsiteY5" fmla="*/ 2440817 h 2518764"/>
              <a:gd name="connsiteX6" fmla="*/ 6298 w 4286293"/>
              <a:gd name="connsiteY6" fmla="*/ 1422637 h 2518764"/>
              <a:gd name="connsiteX0" fmla="*/ 6298 w 4286293"/>
              <a:gd name="connsiteY0" fmla="*/ 1422637 h 2452089"/>
              <a:gd name="connsiteX1" fmla="*/ 470322 w 4286293"/>
              <a:gd name="connsiteY1" fmla="*/ 0 h 2452089"/>
              <a:gd name="connsiteX2" fmla="*/ 4276768 w 4286293"/>
              <a:gd name="connsiteY2" fmla="*/ 9525 h 2452089"/>
              <a:gd name="connsiteX3" fmla="*/ 4286293 w 4286293"/>
              <a:gd name="connsiteY3" fmla="*/ 1585314 h 2452089"/>
              <a:gd name="connsiteX4" fmla="*/ 478114 w 4286293"/>
              <a:gd name="connsiteY4" fmla="*/ 2452089 h 2452089"/>
              <a:gd name="connsiteX5" fmla="*/ 896 w 4286293"/>
              <a:gd name="connsiteY5" fmla="*/ 2440817 h 2452089"/>
              <a:gd name="connsiteX6" fmla="*/ 6298 w 4286293"/>
              <a:gd name="connsiteY6" fmla="*/ 1422637 h 2452089"/>
              <a:gd name="connsiteX0" fmla="*/ 6298 w 4295818"/>
              <a:gd name="connsiteY0" fmla="*/ 1422637 h 2452089"/>
              <a:gd name="connsiteX1" fmla="*/ 470322 w 4295818"/>
              <a:gd name="connsiteY1" fmla="*/ 0 h 2452089"/>
              <a:gd name="connsiteX2" fmla="*/ 4276768 w 4295818"/>
              <a:gd name="connsiteY2" fmla="*/ 9525 h 2452089"/>
              <a:gd name="connsiteX3" fmla="*/ 4295818 w 4295818"/>
              <a:gd name="connsiteY3" fmla="*/ 2423514 h 2452089"/>
              <a:gd name="connsiteX4" fmla="*/ 478114 w 4295818"/>
              <a:gd name="connsiteY4" fmla="*/ 2452089 h 2452089"/>
              <a:gd name="connsiteX5" fmla="*/ 896 w 4295818"/>
              <a:gd name="connsiteY5" fmla="*/ 2440817 h 2452089"/>
              <a:gd name="connsiteX6" fmla="*/ 6298 w 4295818"/>
              <a:gd name="connsiteY6" fmla="*/ 1422637 h 2452089"/>
              <a:gd name="connsiteX0" fmla="*/ 6298 w 4295818"/>
              <a:gd name="connsiteY0" fmla="*/ 1460737 h 2490189"/>
              <a:gd name="connsiteX1" fmla="*/ 460797 w 4295818"/>
              <a:gd name="connsiteY1" fmla="*/ 0 h 2490189"/>
              <a:gd name="connsiteX2" fmla="*/ 4276768 w 4295818"/>
              <a:gd name="connsiteY2" fmla="*/ 47625 h 2490189"/>
              <a:gd name="connsiteX3" fmla="*/ 4295818 w 4295818"/>
              <a:gd name="connsiteY3" fmla="*/ 2461614 h 2490189"/>
              <a:gd name="connsiteX4" fmla="*/ 478114 w 4295818"/>
              <a:gd name="connsiteY4" fmla="*/ 2490189 h 2490189"/>
              <a:gd name="connsiteX5" fmla="*/ 896 w 4295818"/>
              <a:gd name="connsiteY5" fmla="*/ 2478917 h 2490189"/>
              <a:gd name="connsiteX6" fmla="*/ 6298 w 4295818"/>
              <a:gd name="connsiteY6" fmla="*/ 1460737 h 2490189"/>
              <a:gd name="connsiteX0" fmla="*/ 6298 w 4295818"/>
              <a:gd name="connsiteY0" fmla="*/ 1498837 h 2528289"/>
              <a:gd name="connsiteX1" fmla="*/ 451272 w 4295818"/>
              <a:gd name="connsiteY1" fmla="*/ 0 h 2528289"/>
              <a:gd name="connsiteX2" fmla="*/ 4276768 w 4295818"/>
              <a:gd name="connsiteY2" fmla="*/ 85725 h 2528289"/>
              <a:gd name="connsiteX3" fmla="*/ 4295818 w 4295818"/>
              <a:gd name="connsiteY3" fmla="*/ 2499714 h 2528289"/>
              <a:gd name="connsiteX4" fmla="*/ 478114 w 4295818"/>
              <a:gd name="connsiteY4" fmla="*/ 2528289 h 2528289"/>
              <a:gd name="connsiteX5" fmla="*/ 896 w 4295818"/>
              <a:gd name="connsiteY5" fmla="*/ 2517017 h 2528289"/>
              <a:gd name="connsiteX6" fmla="*/ 6298 w 4295818"/>
              <a:gd name="connsiteY6" fmla="*/ 1498837 h 2528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95818" h="2528289">
                <a:moveTo>
                  <a:pt x="6298" y="1498837"/>
                </a:moveTo>
                <a:lnTo>
                  <a:pt x="451272" y="0"/>
                </a:lnTo>
                <a:lnTo>
                  <a:pt x="4276768" y="85725"/>
                </a:lnTo>
                <a:lnTo>
                  <a:pt x="4295818" y="2499714"/>
                </a:lnTo>
                <a:lnTo>
                  <a:pt x="478114" y="2528289"/>
                </a:lnTo>
                <a:lnTo>
                  <a:pt x="896" y="2517017"/>
                </a:lnTo>
                <a:cubicBezTo>
                  <a:pt x="-3653" y="1777574"/>
                  <a:pt x="10847" y="2238280"/>
                  <a:pt x="6298" y="1498837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259309" y="191063"/>
            <a:ext cx="264117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. SWOT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162989" y="81879"/>
            <a:ext cx="173156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4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적 시사점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143847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WOT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강점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약점과 위협을 이용하여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-T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과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W-T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을 도출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88748" y="4018441"/>
            <a:ext cx="3844066" cy="1163146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</a:ln>
        </p:spPr>
        <p:txBody>
          <a:bodyPr wrap="square" lIns="72000" tIns="72000" rIns="0" bIns="0" rtlCol="0">
            <a:noAutofit/>
          </a:bodyPr>
          <a:lstStyle/>
          <a:p>
            <a:pPr marL="177800" marR="0" lvl="0" indent="-177800" defTabSz="9144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>
                <a:tab pos="180975" algn="l"/>
              </a:tabLst>
              <a:defRPr/>
            </a:pPr>
            <a:endParaRPr kumimoji="1" lang="en-US" altLang="ko-KR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8" name="직사각형 51"/>
          <p:cNvSpPr/>
          <p:nvPr/>
        </p:nvSpPr>
        <p:spPr bwMode="auto">
          <a:xfrm>
            <a:off x="4688748" y="3736975"/>
            <a:ext cx="3844066" cy="288000"/>
          </a:xfrm>
          <a:prstGeom prst="rect">
            <a:avLst/>
          </a:prstGeom>
          <a:solidFill>
            <a:srgbClr val="363A94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latinLnBrk="1" hangingPunct="0">
              <a:lnSpc>
                <a:spcPct val="130000"/>
              </a:lnSpc>
              <a:spcBef>
                <a:spcPts val="200"/>
              </a:spcBef>
              <a:buClr>
                <a:srgbClr val="006699"/>
              </a:buClr>
            </a:pPr>
            <a:r>
              <a:rPr kumimoji="1" lang="en-US" altLang="ko-KR" sz="1200" b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-T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85004" y="4234167"/>
            <a:ext cx="3698572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200" dirty="0" err="1" smtClean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한진해운</a:t>
            </a:r>
            <a:r>
              <a:rPr kumimoji="1" lang="ko-KR" altLang="en-US" sz="1200" dirty="0" smtClean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자산 흡수를 통한 규모 성장과</a:t>
            </a:r>
            <a:endParaRPr kumimoji="1" lang="en-US" altLang="ko-KR" sz="1200" dirty="0" smtClean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200" dirty="0" smtClean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선박 기술 개발을 통한 원가 절감을 바탕으로 경쟁력 강화</a:t>
            </a:r>
            <a:endParaRPr kumimoji="1" lang="en-US" altLang="ko-KR" sz="1200" dirty="0" smtClean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692906" y="2782145"/>
            <a:ext cx="3606134" cy="3535945"/>
            <a:chOff x="965866" y="2686609"/>
            <a:chExt cx="3606134" cy="353594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3445193" y="2710724"/>
              <a:ext cx="1071329" cy="1071329"/>
            </a:xfrm>
            <a:prstGeom prst="rect">
              <a:avLst/>
            </a:prstGeom>
            <a:solidFill>
              <a:srgbClr val="8FAADC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Weakness</a:t>
              </a:r>
            </a:p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200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약점</a:t>
              </a:r>
              <a:endParaRPr kumimoji="1" lang="en-US" altLang="ko-KR" sz="1200" kern="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2253072" y="2710724"/>
              <a:ext cx="1071329" cy="1071329"/>
            </a:xfrm>
            <a:prstGeom prst="rect">
              <a:avLst/>
            </a:prstGeom>
            <a:solidFill>
              <a:srgbClr val="8FAADC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Strength</a:t>
              </a:r>
            </a:p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200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강점</a:t>
              </a:r>
              <a:endParaRPr kumimoji="1" lang="en-US" altLang="ko-KR" sz="1200" kern="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1018792" y="5106442"/>
              <a:ext cx="1071329" cy="1071329"/>
            </a:xfrm>
            <a:prstGeom prst="rect">
              <a:avLst/>
            </a:prstGeom>
            <a:solidFill>
              <a:srgbClr val="8FAADC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Threaten</a:t>
              </a:r>
            </a:p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200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위협</a:t>
              </a:r>
              <a:endParaRPr kumimoji="1" lang="en-US" altLang="ko-KR" sz="1200" kern="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1018792" y="3927899"/>
              <a:ext cx="1071329" cy="107132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Opportunity</a:t>
              </a:r>
            </a:p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200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기회</a:t>
              </a:r>
              <a:endParaRPr kumimoji="1" lang="en-US" altLang="ko-KR" sz="1200" kern="0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/>
          </p:nvSpPr>
          <p:spPr bwMode="auto">
            <a:xfrm>
              <a:off x="2253072" y="3927899"/>
              <a:ext cx="1071329" cy="107132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lIns="72000" tIns="46800" rIns="72000" bIns="46800"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b="1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〔S-O </a:t>
              </a:r>
              <a:r>
                <a:rPr kumimoji="1" lang="ko-KR" altLang="en-US" sz="1200" b="1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전략</a:t>
              </a:r>
              <a:r>
                <a:rPr kumimoji="1" lang="en-US" altLang="ko-KR" sz="1200" b="1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〕</a:t>
              </a:r>
            </a:p>
          </p:txBody>
        </p:sp>
        <p:sp>
          <p:nvSpPr>
            <p:cNvPr id="18" name="Rectangle 15"/>
            <p:cNvSpPr>
              <a:spLocks noChangeArrowheads="1"/>
            </p:cNvSpPr>
            <p:nvPr/>
          </p:nvSpPr>
          <p:spPr bwMode="auto">
            <a:xfrm>
              <a:off x="3445193" y="3927899"/>
              <a:ext cx="1071329" cy="107132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lIns="72000" tIns="46800" rIns="72000" bIns="46800"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b="1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〔W-O </a:t>
              </a:r>
              <a:r>
                <a:rPr kumimoji="1" lang="ko-KR" altLang="en-US" sz="1200" b="1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전략</a:t>
              </a:r>
              <a:r>
                <a:rPr kumimoji="1" lang="en-US" altLang="ko-KR" sz="1200" b="1" kern="0" dirty="0"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〕</a:t>
              </a: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3445193" y="5106442"/>
              <a:ext cx="1071329" cy="107132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lIns="72000" tIns="46800" rIns="72000" bIns="46800"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〔W-T </a:t>
              </a:r>
              <a:r>
                <a:rPr kumimoji="1" lang="ko-KR" altLang="en-US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전략</a:t>
              </a:r>
              <a:r>
                <a: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〕</a:t>
              </a:r>
            </a:p>
          </p:txBody>
        </p:sp>
        <p:sp>
          <p:nvSpPr>
            <p:cNvPr id="20" name="Rectangle 15"/>
            <p:cNvSpPr>
              <a:spLocks noChangeArrowheads="1"/>
            </p:cNvSpPr>
            <p:nvPr/>
          </p:nvSpPr>
          <p:spPr bwMode="auto">
            <a:xfrm>
              <a:off x="2253072" y="5106442"/>
              <a:ext cx="1071329" cy="107132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lIns="72000" tIns="46800" rIns="72000" bIns="46800" anchor="ctr"/>
            <a:lstStyle/>
            <a:p>
              <a:pPr marL="87313" indent="-87313" algn="ctr" defTabSz="914400" fontAlgn="base" latinLnBrk="1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〔S-T </a:t>
              </a:r>
              <a:r>
                <a:rPr kumimoji="1" lang="ko-KR" altLang="en-US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전략</a:t>
              </a:r>
              <a:r>
                <a: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rPr>
                <a:t>〕</a:t>
              </a:r>
            </a:p>
          </p:txBody>
        </p:sp>
        <p:grpSp>
          <p:nvGrpSpPr>
            <p:cNvPr id="21" name="그룹 20"/>
            <p:cNvGrpSpPr/>
            <p:nvPr/>
          </p:nvGrpSpPr>
          <p:grpSpPr>
            <a:xfrm>
              <a:off x="965866" y="2686609"/>
              <a:ext cx="1167333" cy="1134075"/>
              <a:chOff x="728585" y="2692129"/>
              <a:chExt cx="1255233" cy="1219471"/>
            </a:xfrm>
          </p:grpSpPr>
          <p:grpSp>
            <p:nvGrpSpPr>
              <p:cNvPr id="28" name="그룹 27"/>
              <p:cNvGrpSpPr/>
              <p:nvPr/>
            </p:nvGrpSpPr>
            <p:grpSpPr>
              <a:xfrm>
                <a:off x="780506" y="2718060"/>
                <a:ext cx="1183442" cy="1193540"/>
                <a:chOff x="780506" y="2718060"/>
                <a:chExt cx="1183442" cy="1193540"/>
              </a:xfrm>
            </p:grpSpPr>
            <p:sp>
              <p:nvSpPr>
                <p:cNvPr id="32" name="Rectangle 13"/>
                <p:cNvSpPr>
                  <a:spLocks noChangeArrowheads="1"/>
                </p:cNvSpPr>
                <p:nvPr/>
              </p:nvSpPr>
              <p:spPr bwMode="auto">
                <a:xfrm>
                  <a:off x="780506" y="2718060"/>
                  <a:ext cx="1152000" cy="1152000"/>
                </a:xfrm>
                <a:prstGeom prst="rect">
                  <a:avLst/>
                </a:prstGeom>
                <a:solidFill>
                  <a:srgbClr val="363A94"/>
                </a:solidFill>
                <a:ln w="9525" algn="ctr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  <a:extLst/>
              </p:spPr>
              <p:txBody>
                <a:bodyPr wrap="none" anchor="ctr"/>
                <a:lstStyle/>
                <a:p>
                  <a:pPr marL="0" marR="0" lvl="0" indent="0" algn="ctr" defTabSz="914400" eaLnBrk="0" fontAlgn="ctr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en-US" altLang="ko-KR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endParaRPr>
                </a:p>
              </p:txBody>
            </p:sp>
            <p:cxnSp>
              <p:nvCxnSpPr>
                <p:cNvPr id="33" name="직선 연결선 32"/>
                <p:cNvCxnSpPr/>
                <p:nvPr/>
              </p:nvCxnSpPr>
              <p:spPr>
                <a:xfrm>
                  <a:off x="780506" y="2718060"/>
                  <a:ext cx="596770" cy="1193540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직선 연결선 33"/>
                <p:cNvCxnSpPr/>
                <p:nvPr/>
              </p:nvCxnSpPr>
              <p:spPr>
                <a:xfrm>
                  <a:off x="780506" y="2718060"/>
                  <a:ext cx="1183442" cy="591721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9" name="TextBox 28"/>
              <p:cNvSpPr txBox="1"/>
              <p:nvPr/>
            </p:nvSpPr>
            <p:spPr>
              <a:xfrm>
                <a:off x="1468732" y="2692129"/>
                <a:ext cx="495049" cy="4964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87313" indent="-87313" algn="ctr" defTabSz="914400" fontAlgn="base" latinLnBrk="1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kern="0" dirty="0"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rPr>
                  <a:t>내부</a:t>
                </a:r>
                <a:endPara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endParaRPr>
              </a:p>
              <a:p>
                <a:pPr marL="87313" indent="-87313" algn="ctr" defTabSz="914400" fontAlgn="base" latinLnBrk="1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kern="0" dirty="0"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rPr>
                  <a:t>역량</a:t>
                </a: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728585" y="3386901"/>
                <a:ext cx="495049" cy="4964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87313" indent="-87313" algn="ctr" defTabSz="914400" fontAlgn="base" latinLnBrk="1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kern="0" dirty="0"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rPr>
                  <a:t>외부</a:t>
                </a:r>
                <a:endPara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endParaRPr>
              </a:p>
              <a:p>
                <a:pPr marL="87313" indent="-87313" algn="ctr" defTabSz="914400" fontAlgn="base" latinLnBrk="1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kern="0" dirty="0"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rPr>
                  <a:t>환경</a:t>
                </a: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1154369" y="3304601"/>
                <a:ext cx="829449" cy="4964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87313" indent="-87313" algn="ctr" defTabSz="914400" fontAlgn="base" latinLnBrk="1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kern="0" dirty="0"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rPr>
                  <a:t>전략 방향</a:t>
                </a:r>
                <a:endParaRPr kumimoji="1" lang="en-US" altLang="ko-KR" sz="12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  <a:cs typeface="함초롬돋움" panose="020B0604000101010101" pitchFamily="50" charset="-127"/>
                </a:endParaRPr>
              </a:p>
              <a:p>
                <a:pPr marL="87313" indent="-87313" algn="ctr" defTabSz="914400" fontAlgn="base" latinLnBrk="1">
                  <a:spcBef>
                    <a:spcPct val="0"/>
                  </a:spcBef>
                  <a:spcAft>
                    <a:spcPct val="0"/>
                  </a:spcAft>
                </a:pPr>
                <a:r>
                  <a:rPr kumimoji="1" lang="ko-KR" altLang="en-US" sz="1200" b="1" kern="0" dirty="0">
                    <a:solidFill>
                      <a:schemeClr val="bg1"/>
                    </a:solidFill>
                    <a:latin typeface="나눔바른고딕" panose="020B0603020101020101" pitchFamily="50" charset="-127"/>
                    <a:ea typeface="나눔바른고딕" panose="020B0603020101020101" pitchFamily="50" charset="-127"/>
                    <a:cs typeface="함초롬돋움" panose="020B0604000101010101" pitchFamily="50" charset="-127"/>
                  </a:rPr>
                  <a:t>시사점</a:t>
                </a:r>
              </a:p>
            </p:txBody>
          </p:sp>
        </p:grpSp>
        <p:cxnSp>
          <p:nvCxnSpPr>
            <p:cNvPr id="22" name="직선 연결선 21"/>
            <p:cNvCxnSpPr/>
            <p:nvPr/>
          </p:nvCxnSpPr>
          <p:spPr>
            <a:xfrm>
              <a:off x="971550" y="3849259"/>
              <a:ext cx="36004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연결선 24"/>
            <p:cNvCxnSpPr/>
            <p:nvPr/>
          </p:nvCxnSpPr>
          <p:spPr>
            <a:xfrm>
              <a:off x="971550" y="5049409"/>
              <a:ext cx="360045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/>
            <p:cNvCxnSpPr/>
            <p:nvPr/>
          </p:nvCxnSpPr>
          <p:spPr>
            <a:xfrm>
              <a:off x="2170379" y="2701199"/>
              <a:ext cx="0" cy="352135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직선 연결선 26"/>
            <p:cNvCxnSpPr/>
            <p:nvPr/>
          </p:nvCxnSpPr>
          <p:spPr>
            <a:xfrm>
              <a:off x="3389579" y="2701199"/>
              <a:ext cx="0" cy="352135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Box 34"/>
          <p:cNvSpPr txBox="1"/>
          <p:nvPr/>
        </p:nvSpPr>
        <p:spPr>
          <a:xfrm>
            <a:off x="4692623" y="5650026"/>
            <a:ext cx="3840190" cy="601129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</a:ln>
        </p:spPr>
        <p:txBody>
          <a:bodyPr wrap="square" lIns="72000" tIns="72000" rIns="0" bIns="0" rtlCol="0">
            <a:noAutofit/>
          </a:bodyPr>
          <a:lstStyle/>
          <a:p>
            <a:pPr marL="177800" marR="0" lvl="0" indent="-177800" defTabSz="914400" eaLnBrk="1" fontAlgn="auto" latin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>
                <a:tab pos="180975" algn="l"/>
              </a:tabLst>
              <a:defRPr/>
            </a:pPr>
            <a:endParaRPr kumimoji="1" lang="en-US" altLang="ko-KR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6" name="직사각형 51"/>
          <p:cNvSpPr/>
          <p:nvPr/>
        </p:nvSpPr>
        <p:spPr bwMode="auto">
          <a:xfrm>
            <a:off x="4692623" y="5368560"/>
            <a:ext cx="3840190" cy="288000"/>
          </a:xfrm>
          <a:prstGeom prst="rect">
            <a:avLst/>
          </a:prstGeom>
          <a:solidFill>
            <a:srgbClr val="363A94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latinLnBrk="1" hangingPunct="0">
              <a:lnSpc>
                <a:spcPct val="130000"/>
              </a:lnSpc>
              <a:spcBef>
                <a:spcPts val="200"/>
              </a:spcBef>
              <a:buClr>
                <a:srgbClr val="006699"/>
              </a:buClr>
            </a:pPr>
            <a:r>
              <a:rPr kumimoji="1" lang="en-US" altLang="ko-KR" sz="1200" b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W-T </a:t>
            </a:r>
            <a:r>
              <a:rPr kumimoji="1" lang="ko-KR" altLang="en-US" sz="1200" b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735767" y="5699062"/>
            <a:ext cx="379704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안정성 저하와 신뢰도 하락에 대한 위기 인식 필요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규모축소를 통한 원가경쟁력 확보의 문제점 인식 필요</a:t>
            </a:r>
            <a:endParaRPr kumimoji="1" lang="en-US" altLang="ko-KR" sz="110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34610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219002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당면 과제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162989" y="81879"/>
            <a:ext cx="173156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4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략적 시사점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236314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당면 과제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695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당면 과제는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단기 기준을 설정하여 단계적으로 해결하여야 하는 규모 성장과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재무 상태 개선 그리고 장기 기준을 설정하여 지속관리 해주어야 하는 신뢰도 회복이 있음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2" name="직사각형 21"/>
          <p:cNvSpPr/>
          <p:nvPr/>
        </p:nvSpPr>
        <p:spPr>
          <a:xfrm rot="5400000">
            <a:off x="3278984" y="4055334"/>
            <a:ext cx="2303681" cy="2133255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61000">
                <a:srgbClr val="FFFFFF"/>
              </a:gs>
              <a:gs pos="100000">
                <a:srgbClr val="EAEAEA"/>
              </a:gs>
            </a:gsLst>
            <a:lin ang="5400000" scaled="1"/>
            <a:tileRect/>
          </a:gradFill>
          <a:ln w="9525" cap="flat" cmpd="sng" algn="ctr">
            <a:solidFill>
              <a:srgbClr val="B2B2B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0" cap="none" spc="0" normalizeH="0" baseline="0" noProof="0">
              <a:ln>
                <a:solidFill>
                  <a:srgbClr val="4F81BD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함초롬돋움" panose="020B0604000101010101" pitchFamily="50" charset="-127"/>
              <a:ea typeface="함초롬돋움" panose="020B0604000101010101" pitchFamily="50" charset="-127"/>
              <a:cs typeface="함초롬돋움" panose="020B0604000101010101" pitchFamily="50" charset="-127"/>
            </a:endParaRPr>
          </a:p>
        </p:txBody>
      </p:sp>
      <p:grpSp>
        <p:nvGrpSpPr>
          <p:cNvPr id="25" name="그룹 24"/>
          <p:cNvGrpSpPr/>
          <p:nvPr/>
        </p:nvGrpSpPr>
        <p:grpSpPr>
          <a:xfrm>
            <a:off x="880305" y="2928631"/>
            <a:ext cx="4617147" cy="480332"/>
            <a:chOff x="107504" y="2828227"/>
            <a:chExt cx="1875292" cy="2518465"/>
          </a:xfrm>
          <a:solidFill>
            <a:srgbClr val="363A94"/>
          </a:solidFill>
          <a:effectLst>
            <a:reflection blurRad="6350" stA="52000" endA="300" endPos="35000" dir="5400000" sy="-100000" algn="bl" rotWithShape="0"/>
          </a:effectLst>
        </p:grpSpPr>
        <p:sp>
          <p:nvSpPr>
            <p:cNvPr id="26" name="오각형 25"/>
            <p:cNvSpPr/>
            <p:nvPr/>
          </p:nvSpPr>
          <p:spPr>
            <a:xfrm>
              <a:off x="107504" y="2828227"/>
              <a:ext cx="1875292" cy="2511151"/>
            </a:xfrm>
            <a:prstGeom prst="homePlate">
              <a:avLst>
                <a:gd name="adj" fmla="val 0"/>
              </a:avLst>
            </a:prstGeom>
            <a:grpFill/>
            <a:ln w="158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 w="3175">
                  <a:solidFill>
                    <a:srgbClr val="6A8509">
                      <a:lumMod val="75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endParaRPr>
            </a:p>
          </p:txBody>
        </p:sp>
        <p:sp>
          <p:nvSpPr>
            <p:cNvPr id="32" name="오각형 10"/>
            <p:cNvSpPr/>
            <p:nvPr/>
          </p:nvSpPr>
          <p:spPr>
            <a:xfrm>
              <a:off x="395536" y="2835541"/>
              <a:ext cx="1165765" cy="2511151"/>
            </a:xfrm>
            <a:custGeom>
              <a:avLst/>
              <a:gdLst>
                <a:gd name="connsiteX0" fmla="*/ 0 w 1875292"/>
                <a:gd name="connsiteY0" fmla="*/ 0 h 2511152"/>
                <a:gd name="connsiteX1" fmla="*/ 1385878 w 1875292"/>
                <a:gd name="connsiteY1" fmla="*/ 0 h 2511152"/>
                <a:gd name="connsiteX2" fmla="*/ 1875292 w 1875292"/>
                <a:gd name="connsiteY2" fmla="*/ 1255576 h 2511152"/>
                <a:gd name="connsiteX3" fmla="*/ 1385878 w 1875292"/>
                <a:gd name="connsiteY3" fmla="*/ 2511152 h 2511152"/>
                <a:gd name="connsiteX4" fmla="*/ 0 w 1875292"/>
                <a:gd name="connsiteY4" fmla="*/ 2511152 h 2511152"/>
                <a:gd name="connsiteX5" fmla="*/ 0 w 1875292"/>
                <a:gd name="connsiteY5" fmla="*/ 0 h 2511152"/>
                <a:gd name="connsiteX0" fmla="*/ 0 w 1385878"/>
                <a:gd name="connsiteY0" fmla="*/ 0 h 2511152"/>
                <a:gd name="connsiteX1" fmla="*/ 1385878 w 1385878"/>
                <a:gd name="connsiteY1" fmla="*/ 0 h 2511152"/>
                <a:gd name="connsiteX2" fmla="*/ 1385878 w 1385878"/>
                <a:gd name="connsiteY2" fmla="*/ 2511152 h 2511152"/>
                <a:gd name="connsiteX3" fmla="*/ 0 w 1385878"/>
                <a:gd name="connsiteY3" fmla="*/ 2511152 h 2511152"/>
                <a:gd name="connsiteX4" fmla="*/ 0 w 1385878"/>
                <a:gd name="connsiteY4" fmla="*/ 0 h 2511152"/>
                <a:gd name="connsiteX0" fmla="*/ 0 w 1733756"/>
                <a:gd name="connsiteY0" fmla="*/ 0 h 2511152"/>
                <a:gd name="connsiteX1" fmla="*/ 1385878 w 1733756"/>
                <a:gd name="connsiteY1" fmla="*/ 0 h 2511152"/>
                <a:gd name="connsiteX2" fmla="*/ 1385878 w 1733756"/>
                <a:gd name="connsiteY2" fmla="*/ 2511152 h 2511152"/>
                <a:gd name="connsiteX3" fmla="*/ 0 w 1733756"/>
                <a:gd name="connsiteY3" fmla="*/ 2511152 h 2511152"/>
                <a:gd name="connsiteX4" fmla="*/ 0 w 1733756"/>
                <a:gd name="connsiteY4" fmla="*/ 0 h 2511152"/>
                <a:gd name="connsiteX0" fmla="*/ 0 w 1804100"/>
                <a:gd name="connsiteY0" fmla="*/ 0 h 2511152"/>
                <a:gd name="connsiteX1" fmla="*/ 1385878 w 1804100"/>
                <a:gd name="connsiteY1" fmla="*/ 0 h 2511152"/>
                <a:gd name="connsiteX2" fmla="*/ 1385878 w 1804100"/>
                <a:gd name="connsiteY2" fmla="*/ 2511152 h 2511152"/>
                <a:gd name="connsiteX3" fmla="*/ 0 w 1804100"/>
                <a:gd name="connsiteY3" fmla="*/ 2511152 h 2511152"/>
                <a:gd name="connsiteX4" fmla="*/ 0 w 1804100"/>
                <a:gd name="connsiteY4" fmla="*/ 0 h 2511152"/>
                <a:gd name="connsiteX0" fmla="*/ 0 w 1700054"/>
                <a:gd name="connsiteY0" fmla="*/ 0 h 2511152"/>
                <a:gd name="connsiteX1" fmla="*/ 1385878 w 1700054"/>
                <a:gd name="connsiteY1" fmla="*/ 0 h 2511152"/>
                <a:gd name="connsiteX2" fmla="*/ 998172 w 1700054"/>
                <a:gd name="connsiteY2" fmla="*/ 2496521 h 2511152"/>
                <a:gd name="connsiteX3" fmla="*/ 0 w 1700054"/>
                <a:gd name="connsiteY3" fmla="*/ 2511152 h 2511152"/>
                <a:gd name="connsiteX4" fmla="*/ 0 w 1700054"/>
                <a:gd name="connsiteY4" fmla="*/ 0 h 2511152"/>
                <a:gd name="connsiteX0" fmla="*/ 0 w 1720898"/>
                <a:gd name="connsiteY0" fmla="*/ 0 h 2511152"/>
                <a:gd name="connsiteX1" fmla="*/ 1385878 w 1720898"/>
                <a:gd name="connsiteY1" fmla="*/ 0 h 2511152"/>
                <a:gd name="connsiteX2" fmla="*/ 998172 w 1720898"/>
                <a:gd name="connsiteY2" fmla="*/ 2496521 h 2511152"/>
                <a:gd name="connsiteX3" fmla="*/ 0 w 1720898"/>
                <a:gd name="connsiteY3" fmla="*/ 2511152 h 2511152"/>
                <a:gd name="connsiteX4" fmla="*/ 0 w 1720898"/>
                <a:gd name="connsiteY4" fmla="*/ 0 h 2511152"/>
                <a:gd name="connsiteX0" fmla="*/ 0 w 2539717"/>
                <a:gd name="connsiteY0" fmla="*/ 0 h 2511152"/>
                <a:gd name="connsiteX1" fmla="*/ 2339327 w 2539717"/>
                <a:gd name="connsiteY1" fmla="*/ 7315 h 2511152"/>
                <a:gd name="connsiteX2" fmla="*/ 998172 w 2539717"/>
                <a:gd name="connsiteY2" fmla="*/ 2496521 h 2511152"/>
                <a:gd name="connsiteX3" fmla="*/ 0 w 2539717"/>
                <a:gd name="connsiteY3" fmla="*/ 2511152 h 2511152"/>
                <a:gd name="connsiteX4" fmla="*/ 0 w 2539717"/>
                <a:gd name="connsiteY4" fmla="*/ 0 h 2511152"/>
                <a:gd name="connsiteX0" fmla="*/ 0 w 2547975"/>
                <a:gd name="connsiteY0" fmla="*/ 0 h 2511152"/>
                <a:gd name="connsiteX1" fmla="*/ 2339327 w 2547975"/>
                <a:gd name="connsiteY1" fmla="*/ 7315 h 2511152"/>
                <a:gd name="connsiteX2" fmla="*/ 998172 w 2547975"/>
                <a:gd name="connsiteY2" fmla="*/ 2496521 h 2511152"/>
                <a:gd name="connsiteX3" fmla="*/ 0 w 2547975"/>
                <a:gd name="connsiteY3" fmla="*/ 2511152 h 2511152"/>
                <a:gd name="connsiteX4" fmla="*/ 0 w 2547975"/>
                <a:gd name="connsiteY4" fmla="*/ 0 h 251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7975" h="2511152">
                  <a:moveTo>
                    <a:pt x="0" y="0"/>
                  </a:moveTo>
                  <a:lnTo>
                    <a:pt x="2339327" y="7315"/>
                  </a:lnTo>
                  <a:cubicBezTo>
                    <a:pt x="3122054" y="1195496"/>
                    <a:pt x="1485494" y="2310522"/>
                    <a:pt x="998172" y="2496521"/>
                  </a:cubicBezTo>
                  <a:lnTo>
                    <a:pt x="0" y="251115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endParaRPr>
            </a:p>
          </p:txBody>
        </p:sp>
      </p:grpSp>
      <p:sp>
        <p:nvSpPr>
          <p:cNvPr id="33" name="직사각형 32"/>
          <p:cNvSpPr/>
          <p:nvPr/>
        </p:nvSpPr>
        <p:spPr bwMode="gray">
          <a:xfrm>
            <a:off x="2207474" y="3036464"/>
            <a:ext cx="1962809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 defTabSz="914400">
              <a:defRPr/>
            </a:pPr>
            <a:r>
              <a:rPr lang="ko-KR" altLang="en-US" sz="16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rPr>
              <a:t>단기 기준 당면과제</a:t>
            </a:r>
            <a:endParaRPr lang="en-US" altLang="ko-KR" sz="1600" b="1" kern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prstClr val="white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함초롬돋움" panose="020B0604000101010101" pitchFamily="50" charset="-127"/>
            </a:endParaRPr>
          </a:p>
        </p:txBody>
      </p:sp>
      <p:sp>
        <p:nvSpPr>
          <p:cNvPr id="35" name="직사각형 34"/>
          <p:cNvSpPr/>
          <p:nvPr/>
        </p:nvSpPr>
        <p:spPr>
          <a:xfrm rot="5400000">
            <a:off x="5928325" y="4054561"/>
            <a:ext cx="2303680" cy="2134801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61000">
                <a:srgbClr val="FFFFFF"/>
              </a:gs>
              <a:gs pos="100000">
                <a:srgbClr val="EAEAEA"/>
              </a:gs>
            </a:gsLst>
            <a:lin ang="5400000" scaled="1"/>
            <a:tileRect/>
          </a:gradFill>
          <a:ln w="9525" cap="flat" cmpd="sng" algn="ctr">
            <a:solidFill>
              <a:srgbClr val="B2B2B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0" cap="none" spc="0" normalizeH="0" baseline="0" noProof="0">
              <a:ln>
                <a:solidFill>
                  <a:srgbClr val="4F81BD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함초롬돋움" panose="020B0604000101010101" pitchFamily="50" charset="-127"/>
              <a:ea typeface="함초롬돋움" panose="020B0604000101010101" pitchFamily="50" charset="-127"/>
              <a:cs typeface="함초롬돋움" panose="020B0604000101010101" pitchFamily="50" charset="-127"/>
            </a:endParaRPr>
          </a:p>
        </p:txBody>
      </p:sp>
      <p:grpSp>
        <p:nvGrpSpPr>
          <p:cNvPr id="36" name="그룹 35"/>
          <p:cNvGrpSpPr/>
          <p:nvPr/>
        </p:nvGrpSpPr>
        <p:grpSpPr>
          <a:xfrm>
            <a:off x="6012765" y="2928633"/>
            <a:ext cx="2134801" cy="480332"/>
            <a:chOff x="107504" y="2828227"/>
            <a:chExt cx="1875292" cy="2518465"/>
          </a:xfrm>
          <a:solidFill>
            <a:schemeClr val="tx1">
              <a:lumMod val="65000"/>
              <a:lumOff val="35000"/>
            </a:schemeClr>
          </a:solidFill>
          <a:effectLst>
            <a:reflection blurRad="6350" stA="52000" endA="300" endPos="35000" dir="5400000" sy="-100000" algn="bl" rotWithShape="0"/>
          </a:effectLst>
        </p:grpSpPr>
        <p:sp>
          <p:nvSpPr>
            <p:cNvPr id="37" name="오각형 36"/>
            <p:cNvSpPr/>
            <p:nvPr/>
          </p:nvSpPr>
          <p:spPr>
            <a:xfrm>
              <a:off x="107504" y="2828227"/>
              <a:ext cx="1875292" cy="2511151"/>
            </a:xfrm>
            <a:prstGeom prst="homePlate">
              <a:avLst>
                <a:gd name="adj" fmla="val 0"/>
              </a:avLst>
            </a:prstGeom>
            <a:grpFill/>
            <a:ln w="158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 w="3175">
                  <a:solidFill>
                    <a:srgbClr val="6A8509">
                      <a:lumMod val="75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endParaRPr>
            </a:p>
          </p:txBody>
        </p:sp>
        <p:sp>
          <p:nvSpPr>
            <p:cNvPr id="38" name="오각형 10"/>
            <p:cNvSpPr/>
            <p:nvPr/>
          </p:nvSpPr>
          <p:spPr>
            <a:xfrm>
              <a:off x="395536" y="2835541"/>
              <a:ext cx="1165765" cy="2511151"/>
            </a:xfrm>
            <a:custGeom>
              <a:avLst/>
              <a:gdLst>
                <a:gd name="connsiteX0" fmla="*/ 0 w 1875292"/>
                <a:gd name="connsiteY0" fmla="*/ 0 h 2511152"/>
                <a:gd name="connsiteX1" fmla="*/ 1385878 w 1875292"/>
                <a:gd name="connsiteY1" fmla="*/ 0 h 2511152"/>
                <a:gd name="connsiteX2" fmla="*/ 1875292 w 1875292"/>
                <a:gd name="connsiteY2" fmla="*/ 1255576 h 2511152"/>
                <a:gd name="connsiteX3" fmla="*/ 1385878 w 1875292"/>
                <a:gd name="connsiteY3" fmla="*/ 2511152 h 2511152"/>
                <a:gd name="connsiteX4" fmla="*/ 0 w 1875292"/>
                <a:gd name="connsiteY4" fmla="*/ 2511152 h 2511152"/>
                <a:gd name="connsiteX5" fmla="*/ 0 w 1875292"/>
                <a:gd name="connsiteY5" fmla="*/ 0 h 2511152"/>
                <a:gd name="connsiteX0" fmla="*/ 0 w 1385878"/>
                <a:gd name="connsiteY0" fmla="*/ 0 h 2511152"/>
                <a:gd name="connsiteX1" fmla="*/ 1385878 w 1385878"/>
                <a:gd name="connsiteY1" fmla="*/ 0 h 2511152"/>
                <a:gd name="connsiteX2" fmla="*/ 1385878 w 1385878"/>
                <a:gd name="connsiteY2" fmla="*/ 2511152 h 2511152"/>
                <a:gd name="connsiteX3" fmla="*/ 0 w 1385878"/>
                <a:gd name="connsiteY3" fmla="*/ 2511152 h 2511152"/>
                <a:gd name="connsiteX4" fmla="*/ 0 w 1385878"/>
                <a:gd name="connsiteY4" fmla="*/ 0 h 2511152"/>
                <a:gd name="connsiteX0" fmla="*/ 0 w 1733756"/>
                <a:gd name="connsiteY0" fmla="*/ 0 h 2511152"/>
                <a:gd name="connsiteX1" fmla="*/ 1385878 w 1733756"/>
                <a:gd name="connsiteY1" fmla="*/ 0 h 2511152"/>
                <a:gd name="connsiteX2" fmla="*/ 1385878 w 1733756"/>
                <a:gd name="connsiteY2" fmla="*/ 2511152 h 2511152"/>
                <a:gd name="connsiteX3" fmla="*/ 0 w 1733756"/>
                <a:gd name="connsiteY3" fmla="*/ 2511152 h 2511152"/>
                <a:gd name="connsiteX4" fmla="*/ 0 w 1733756"/>
                <a:gd name="connsiteY4" fmla="*/ 0 h 2511152"/>
                <a:gd name="connsiteX0" fmla="*/ 0 w 1804100"/>
                <a:gd name="connsiteY0" fmla="*/ 0 h 2511152"/>
                <a:gd name="connsiteX1" fmla="*/ 1385878 w 1804100"/>
                <a:gd name="connsiteY1" fmla="*/ 0 h 2511152"/>
                <a:gd name="connsiteX2" fmla="*/ 1385878 w 1804100"/>
                <a:gd name="connsiteY2" fmla="*/ 2511152 h 2511152"/>
                <a:gd name="connsiteX3" fmla="*/ 0 w 1804100"/>
                <a:gd name="connsiteY3" fmla="*/ 2511152 h 2511152"/>
                <a:gd name="connsiteX4" fmla="*/ 0 w 1804100"/>
                <a:gd name="connsiteY4" fmla="*/ 0 h 2511152"/>
                <a:gd name="connsiteX0" fmla="*/ 0 w 1700054"/>
                <a:gd name="connsiteY0" fmla="*/ 0 h 2511152"/>
                <a:gd name="connsiteX1" fmla="*/ 1385878 w 1700054"/>
                <a:gd name="connsiteY1" fmla="*/ 0 h 2511152"/>
                <a:gd name="connsiteX2" fmla="*/ 998172 w 1700054"/>
                <a:gd name="connsiteY2" fmla="*/ 2496521 h 2511152"/>
                <a:gd name="connsiteX3" fmla="*/ 0 w 1700054"/>
                <a:gd name="connsiteY3" fmla="*/ 2511152 h 2511152"/>
                <a:gd name="connsiteX4" fmla="*/ 0 w 1700054"/>
                <a:gd name="connsiteY4" fmla="*/ 0 h 2511152"/>
                <a:gd name="connsiteX0" fmla="*/ 0 w 1720898"/>
                <a:gd name="connsiteY0" fmla="*/ 0 h 2511152"/>
                <a:gd name="connsiteX1" fmla="*/ 1385878 w 1720898"/>
                <a:gd name="connsiteY1" fmla="*/ 0 h 2511152"/>
                <a:gd name="connsiteX2" fmla="*/ 998172 w 1720898"/>
                <a:gd name="connsiteY2" fmla="*/ 2496521 h 2511152"/>
                <a:gd name="connsiteX3" fmla="*/ 0 w 1720898"/>
                <a:gd name="connsiteY3" fmla="*/ 2511152 h 2511152"/>
                <a:gd name="connsiteX4" fmla="*/ 0 w 1720898"/>
                <a:gd name="connsiteY4" fmla="*/ 0 h 2511152"/>
                <a:gd name="connsiteX0" fmla="*/ 0 w 2539717"/>
                <a:gd name="connsiteY0" fmla="*/ 0 h 2511152"/>
                <a:gd name="connsiteX1" fmla="*/ 2339327 w 2539717"/>
                <a:gd name="connsiteY1" fmla="*/ 7315 h 2511152"/>
                <a:gd name="connsiteX2" fmla="*/ 998172 w 2539717"/>
                <a:gd name="connsiteY2" fmla="*/ 2496521 h 2511152"/>
                <a:gd name="connsiteX3" fmla="*/ 0 w 2539717"/>
                <a:gd name="connsiteY3" fmla="*/ 2511152 h 2511152"/>
                <a:gd name="connsiteX4" fmla="*/ 0 w 2539717"/>
                <a:gd name="connsiteY4" fmla="*/ 0 h 2511152"/>
                <a:gd name="connsiteX0" fmla="*/ 0 w 2547975"/>
                <a:gd name="connsiteY0" fmla="*/ 0 h 2511152"/>
                <a:gd name="connsiteX1" fmla="*/ 2339327 w 2547975"/>
                <a:gd name="connsiteY1" fmla="*/ 7315 h 2511152"/>
                <a:gd name="connsiteX2" fmla="*/ 998172 w 2547975"/>
                <a:gd name="connsiteY2" fmla="*/ 2496521 h 2511152"/>
                <a:gd name="connsiteX3" fmla="*/ 0 w 2547975"/>
                <a:gd name="connsiteY3" fmla="*/ 2511152 h 2511152"/>
                <a:gd name="connsiteX4" fmla="*/ 0 w 2547975"/>
                <a:gd name="connsiteY4" fmla="*/ 0 h 251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47975" h="2511152">
                  <a:moveTo>
                    <a:pt x="0" y="0"/>
                  </a:moveTo>
                  <a:lnTo>
                    <a:pt x="2339327" y="7315"/>
                  </a:lnTo>
                  <a:cubicBezTo>
                    <a:pt x="3122054" y="1195496"/>
                    <a:pt x="1485494" y="2310522"/>
                    <a:pt x="998172" y="2496521"/>
                  </a:cubicBezTo>
                  <a:lnTo>
                    <a:pt x="0" y="251115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endParaRPr>
            </a:p>
          </p:txBody>
        </p:sp>
      </p:grpSp>
      <p:sp>
        <p:nvSpPr>
          <p:cNvPr id="39" name="직사각형 38"/>
          <p:cNvSpPr/>
          <p:nvPr/>
        </p:nvSpPr>
        <p:spPr bwMode="gray">
          <a:xfrm>
            <a:off x="6012764" y="3036467"/>
            <a:ext cx="2134802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 defTabSz="914400">
              <a:defRPr/>
            </a:pPr>
            <a:r>
              <a:rPr lang="ko-KR" altLang="en-US" sz="16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rPr>
              <a:t>장기 기준 당면과제</a:t>
            </a:r>
            <a:endParaRPr lang="en-US" altLang="ko-KR" sz="1600" b="1" kern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prstClr val="white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함초롬돋움" panose="020B0604000101010101" pitchFamily="50" charset="-127"/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6012764" y="3601741"/>
            <a:ext cx="2134803" cy="368380"/>
          </a:xfrm>
          <a:prstGeom prst="roundRect">
            <a:avLst>
              <a:gd name="adj" fmla="val 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latinLnBrk="1"/>
            <a:r>
              <a:rPr lang="ko-KR" altLang="en-US" sz="1400" b="1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신뢰도 회복</a:t>
            </a:r>
            <a:endParaRPr lang="en-US" altLang="ko-KR" sz="1400" b="1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white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41" name="모서리가 둥근 직사각형 40"/>
          <p:cNvSpPr/>
          <p:nvPr/>
        </p:nvSpPr>
        <p:spPr>
          <a:xfrm>
            <a:off x="880306" y="3601741"/>
            <a:ext cx="2117166" cy="368380"/>
          </a:xfrm>
          <a:prstGeom prst="roundRect">
            <a:avLst>
              <a:gd name="adj" fmla="val 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400" latinLnBrk="1"/>
            <a:r>
              <a:rPr lang="ko-KR" altLang="en-US" sz="1400" b="1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규모 성장</a:t>
            </a:r>
            <a:endParaRPr lang="en-US" altLang="ko-KR" sz="1400" b="1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white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54" name="모서리가 둥근 직사각형 53"/>
          <p:cNvSpPr/>
          <p:nvPr/>
        </p:nvSpPr>
        <p:spPr>
          <a:xfrm>
            <a:off x="3364197" y="3601741"/>
            <a:ext cx="2134802" cy="368380"/>
          </a:xfrm>
          <a:prstGeom prst="roundRect">
            <a:avLst>
              <a:gd name="adj" fmla="val 0"/>
            </a:avLst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400" latinLnBrk="1"/>
            <a:r>
              <a:rPr lang="ko-KR" altLang="en-US" sz="1400" b="1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재무 상태 개선</a:t>
            </a:r>
            <a:endParaRPr lang="en-US" altLang="ko-KR" sz="1400" b="1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white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56" name="직사각형 55"/>
          <p:cNvSpPr/>
          <p:nvPr/>
        </p:nvSpPr>
        <p:spPr>
          <a:xfrm rot="5400000">
            <a:off x="787047" y="4063378"/>
            <a:ext cx="2303681" cy="2117167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61000">
                <a:srgbClr val="FFFFFF"/>
              </a:gs>
              <a:gs pos="100000">
                <a:srgbClr val="EAEAEA"/>
              </a:gs>
            </a:gsLst>
            <a:lin ang="5400000" scaled="1"/>
            <a:tileRect/>
          </a:gradFill>
          <a:ln w="9525" cap="flat" cmpd="sng" algn="ctr">
            <a:solidFill>
              <a:srgbClr val="B2B2B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0" cap="none" spc="0" normalizeH="0" baseline="0" noProof="0">
              <a:ln>
                <a:solidFill>
                  <a:srgbClr val="4F81BD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함초롬돋움" panose="020B0604000101010101" pitchFamily="50" charset="-127"/>
              <a:ea typeface="함초롬돋움" panose="020B0604000101010101" pitchFamily="50" charset="-127"/>
              <a:cs typeface="함초롬돋움" panose="020B0604000101010101" pitchFamily="50" charset="-127"/>
            </a:endParaRPr>
          </a:p>
        </p:txBody>
      </p:sp>
      <p:sp>
        <p:nvSpPr>
          <p:cNvPr id="57" name="모서리가 둥근 직사각형 56"/>
          <p:cNvSpPr/>
          <p:nvPr/>
        </p:nvSpPr>
        <p:spPr>
          <a:xfrm>
            <a:off x="1102601" y="4325071"/>
            <a:ext cx="1672575" cy="36838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400" latinLnBrk="1"/>
            <a:r>
              <a:rPr lang="ko-KR" altLang="en-US" sz="1400" b="1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물동량 증가</a:t>
            </a:r>
            <a:endParaRPr lang="en-US" altLang="ko-KR" sz="1400" b="1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chemeClr val="tx1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60" name="모서리가 둥근 직사각형 59"/>
          <p:cNvSpPr/>
          <p:nvPr/>
        </p:nvSpPr>
        <p:spPr>
          <a:xfrm>
            <a:off x="3594537" y="4325071"/>
            <a:ext cx="1672575" cy="36838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400" latinLnBrk="1"/>
            <a:r>
              <a:rPr lang="ko-KR" altLang="en-US" sz="1400" b="1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비용 절감</a:t>
            </a:r>
            <a:endParaRPr lang="en-US" altLang="ko-KR" sz="1400" b="1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chemeClr val="tx1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63" name="모서리가 둥근 직사각형 62"/>
          <p:cNvSpPr/>
          <p:nvPr/>
        </p:nvSpPr>
        <p:spPr>
          <a:xfrm>
            <a:off x="6243877" y="4325071"/>
            <a:ext cx="1672575" cy="36838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400" latinLnBrk="1"/>
            <a:r>
              <a:rPr lang="ko-KR" altLang="en-US" sz="1400" b="1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schemeClr val="tx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이미지 개선</a:t>
            </a:r>
            <a:endParaRPr lang="en-US" altLang="ko-KR" sz="1400" b="1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chemeClr val="tx1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102601" y="4833789"/>
            <a:ext cx="1672575" cy="90024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defTabSz="914400" latinLnBrk="1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o-KR" altLang="en-US" sz="120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해운동맹</a:t>
            </a:r>
            <a:endParaRPr lang="en-US" altLang="ko-KR" sz="120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  <a:p>
            <a:pPr marL="171450" indent="-171450" defTabSz="914400" latinLnBrk="1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o-KR" altLang="en-US" sz="120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시장개척</a:t>
            </a:r>
            <a:endParaRPr lang="en-US" altLang="ko-KR" sz="120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  <a:p>
            <a:pPr marL="171450" indent="-171450" defTabSz="914400" latinLnBrk="1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o-KR" altLang="en-US" sz="120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한진해운 자산 흡수</a:t>
            </a:r>
            <a:endParaRPr lang="en-US" altLang="ko-KR" sz="120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3594536" y="4833789"/>
            <a:ext cx="1672575" cy="11772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defTabSz="914400" latinLnBrk="1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o-KR" altLang="en-US" sz="120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원가구조 개선을 통한 생산단위 당 원가 감소</a:t>
            </a:r>
            <a:endParaRPr lang="en-US" altLang="ko-KR" sz="120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  <a:p>
            <a:pPr marL="171450" indent="-171450" defTabSz="914400" latinLnBrk="1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o-KR" altLang="en-US" sz="120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선박 대형화</a:t>
            </a:r>
            <a:r>
              <a:rPr lang="en-US" altLang="ko-KR" sz="120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/</a:t>
            </a:r>
            <a:r>
              <a:rPr lang="ko-KR" altLang="en-US" sz="120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효율화</a:t>
            </a:r>
            <a:endParaRPr lang="en-US" altLang="ko-KR" sz="120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243877" y="4833789"/>
            <a:ext cx="1672575" cy="12003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defTabSz="914400" latinLnBrk="1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o-KR" altLang="en-US" sz="120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홍보를 통한 이미지 개선</a:t>
            </a:r>
            <a:endParaRPr lang="en-US" altLang="ko-KR" sz="120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  <a:p>
            <a:pPr marL="171450" indent="-171450" defTabSz="914400" latinLnBrk="1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o-KR" altLang="en-US" sz="120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결과를 통한 이미지 개선</a:t>
            </a:r>
            <a:endParaRPr lang="en-US" altLang="ko-KR" sz="120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294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1330054" y="2366683"/>
            <a:ext cx="6494929" cy="2238327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60311" y="2524836"/>
            <a:ext cx="1941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ONTENTS :</a:t>
            </a:r>
            <a:endParaRPr lang="ko-KR" altLang="en-US" sz="2400" b="1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18462" y="2418246"/>
            <a:ext cx="2238754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 배경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 목적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 범위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 </a:t>
            </a:r>
            <a:r>
              <a:rPr lang="en-US" altLang="ko-KR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Framework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79673" y="2986501"/>
            <a:ext cx="1460656" cy="4732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>
              <a:lnSpc>
                <a:spcPct val="150000"/>
              </a:lnSpc>
              <a:buAutoNum type="romanU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 개요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9" name="Picture 4" descr="관련 이미지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2" t="10779" r="1215" b="10480"/>
          <a:stretch/>
        </p:blipFill>
        <p:spPr bwMode="auto">
          <a:xfrm>
            <a:off x="7139293" y="255489"/>
            <a:ext cx="1831975" cy="400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4929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1330054" y="2366683"/>
            <a:ext cx="6494929" cy="2238327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60311" y="2524836"/>
            <a:ext cx="1941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ONTENTS :</a:t>
            </a:r>
            <a:endParaRPr lang="ko-KR" altLang="en-US" sz="2400" b="1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18462" y="2418246"/>
            <a:ext cx="2332690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</a:t>
            </a:r>
            <a:r>
              <a:rPr lang="en-US" altLang="ko-KR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/</a:t>
            </a: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수입함수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영입이익 모델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응방향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책적 시사점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79673" y="2986501"/>
            <a:ext cx="1204176" cy="4732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>
              <a:lnSpc>
                <a:spcPct val="150000"/>
              </a:lnSpc>
              <a:buFont typeface="+mj-lt"/>
              <a:buAutoNum type="romanUcPeriod" startAt="5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9" name="Picture 4" descr="관련 이미지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2" t="10779" r="1215" b="10480"/>
          <a:stretch/>
        </p:blipFill>
        <p:spPr bwMode="auto">
          <a:xfrm>
            <a:off x="7139293" y="255489"/>
            <a:ext cx="1831975" cy="400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9119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374333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</a:t>
            </a: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/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수입함수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757703" y="81879"/>
            <a:ext cx="113685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5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272702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함수 </a:t>
            </a:r>
            <a:r>
              <a:rPr lang="en-US" altLang="ko-KR" sz="20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lang="ko-KR" altLang="en-US" sz="20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회계적 비용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사업보고서 상의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03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기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~2016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기의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55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 데이터를 기반으로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 함수 도출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독립변수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생산능력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매출원가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/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종속변수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4943415" y="2885354"/>
            <a:ext cx="3450491" cy="492443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4842608" y="2925365"/>
            <a:ext cx="3652104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en-US" altLang="ko-KR" sz="16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TC = 162.228 x Q</a:t>
            </a:r>
            <a:r>
              <a:rPr lang="en-US" altLang="ko-KR" sz="1600" baseline="300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0.615</a:t>
            </a:r>
            <a:r>
              <a:rPr lang="en-US" altLang="ko-KR" sz="16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x C</a:t>
            </a:r>
            <a:r>
              <a:rPr lang="en-US" altLang="ko-KR" sz="1600" baseline="300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0.996</a:t>
            </a:r>
          </a:p>
        </p:txBody>
      </p:sp>
      <p:sp>
        <p:nvSpPr>
          <p:cNvPr id="3" name="오각형 2"/>
          <p:cNvSpPr/>
          <p:nvPr/>
        </p:nvSpPr>
        <p:spPr>
          <a:xfrm>
            <a:off x="665896" y="3213430"/>
            <a:ext cx="3906104" cy="3060369"/>
          </a:xfrm>
          <a:prstGeom prst="homePlate">
            <a:avLst>
              <a:gd name="adj" fmla="val 1312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endParaRPr kumimoji="1" lang="ko-KR" altLang="en-US" sz="105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2" name="직사각형 51"/>
          <p:cNvSpPr/>
          <p:nvPr/>
        </p:nvSpPr>
        <p:spPr bwMode="auto">
          <a:xfrm>
            <a:off x="652464" y="2899002"/>
            <a:ext cx="3524250" cy="318106"/>
          </a:xfrm>
          <a:prstGeom prst="rect">
            <a:avLst/>
          </a:prstGeom>
          <a:solidFill>
            <a:srgbClr val="363A9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latinLnBrk="1" hangingPunct="0">
              <a:lnSpc>
                <a:spcPct val="130000"/>
              </a:lnSpc>
              <a:spcBef>
                <a:spcPts val="200"/>
              </a:spcBef>
              <a:buClr>
                <a:srgbClr val="006699"/>
              </a:buClr>
            </a:pPr>
            <a:r>
              <a:rPr kumimoji="1" lang="ko-KR" altLang="en-US" sz="1400" b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 함수</a:t>
            </a:r>
          </a:p>
        </p:txBody>
      </p:sp>
      <p:sp>
        <p:nvSpPr>
          <p:cNvPr id="13" name="직사각형 12"/>
          <p:cNvSpPr/>
          <p:nvPr/>
        </p:nvSpPr>
        <p:spPr>
          <a:xfrm rot="5400000">
            <a:off x="5227482" y="3107379"/>
            <a:ext cx="2882354" cy="345049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61000">
                <a:srgbClr val="FFFFFF"/>
              </a:gs>
              <a:gs pos="100000">
                <a:srgbClr val="EAEAEA"/>
              </a:gs>
            </a:gsLst>
            <a:lin ang="5400000" scaled="1"/>
            <a:tileRect/>
          </a:gradFill>
          <a:ln w="9525" cap="flat" cmpd="sng" algn="ctr">
            <a:solidFill>
              <a:srgbClr val="B2B2B2"/>
            </a:solidFill>
            <a:prstDash val="solid"/>
          </a:ln>
          <a:effectLst/>
        </p:spPr>
        <p:txBody>
          <a:bodyPr vert="vert270" rtlCol="0" anchor="t"/>
          <a:lstStyle/>
          <a:p>
            <a:pPr marL="177800" lvl="0" indent="-177800" algn="ctr" defTabSz="914400" latinLnBrk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2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에 대한 생산량의 영향도 </a:t>
            </a:r>
            <a:r>
              <a:rPr kumimoji="1" lang="en-US" altLang="ko-KR" sz="12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kumimoji="1" lang="ko-KR" altLang="en-US" sz="12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단위당 원가 영향도</a:t>
            </a:r>
            <a:r>
              <a:rPr kumimoji="1" lang="en-US" altLang="ko-KR" sz="12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kumimoji="1" lang="en-US" altLang="ko-KR" sz="16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54:57</a:t>
            </a:r>
            <a:endParaRPr kumimoji="1" lang="en-US" altLang="ko-KR" sz="1200" b="1" dirty="0">
              <a:solidFill>
                <a:srgbClr val="363A94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712537" y="3496917"/>
            <a:ext cx="3464177" cy="702773"/>
            <a:chOff x="712537" y="3569487"/>
            <a:chExt cx="3464177" cy="702773"/>
          </a:xfrm>
        </p:grpSpPr>
        <p:sp>
          <p:nvSpPr>
            <p:cNvPr id="15" name="Rectangle 35"/>
            <p:cNvSpPr>
              <a:spLocks noChangeArrowheads="1"/>
            </p:cNvSpPr>
            <p:nvPr/>
          </p:nvSpPr>
          <p:spPr bwMode="auto">
            <a:xfrm>
              <a:off x="1794357" y="3569487"/>
              <a:ext cx="1300536" cy="38609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en-US" altLang="ko-KR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55</a:t>
              </a:r>
              <a:r>
                <a:rPr lang="ko-KR" altLang="en-US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개의 데이터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12537" y="4010650"/>
              <a:ext cx="346417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algn="ctr" defTabSz="914400" latinLnBrk="1">
                <a:spcBef>
                  <a:spcPts val="200"/>
                </a:spcBef>
                <a:spcAft>
                  <a:spcPts val="200"/>
                </a:spcAft>
                <a:buFont typeface="Arial" pitchFamily="34" charset="0"/>
                <a:buChar char="•"/>
                <a:tabLst>
                  <a:tab pos="180975" algn="l"/>
                </a:tabLst>
              </a:pP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2003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년 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1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분기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~2016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년 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3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분기</a:t>
              </a:r>
              <a:endPara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712537" y="4294394"/>
            <a:ext cx="3464177" cy="923346"/>
            <a:chOff x="712537" y="4412558"/>
            <a:chExt cx="3464177" cy="923346"/>
          </a:xfrm>
        </p:grpSpPr>
        <p:sp>
          <p:nvSpPr>
            <p:cNvPr id="17" name="Rectangle 35"/>
            <p:cNvSpPr>
              <a:spLocks noChangeArrowheads="1"/>
            </p:cNvSpPr>
            <p:nvPr/>
          </p:nvSpPr>
          <p:spPr bwMode="auto">
            <a:xfrm>
              <a:off x="1794357" y="4412558"/>
              <a:ext cx="1300536" cy="38609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독립변수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12537" y="4853721"/>
              <a:ext cx="3464177" cy="4821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algn="ctr" defTabSz="914400" latinLnBrk="1">
                <a:spcBef>
                  <a:spcPts val="200"/>
                </a:spcBef>
                <a:spcAft>
                  <a:spcPts val="200"/>
                </a:spcAft>
                <a:buFont typeface="Arial" pitchFamily="34" charset="0"/>
                <a:buChar char="•"/>
                <a:tabLst>
                  <a:tab pos="180975" algn="l"/>
                </a:tabLst>
              </a:pP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분기별 생산능력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Capacity, TEU)</a:t>
              </a:r>
            </a:p>
            <a:p>
              <a:pPr marL="177800" indent="-177800" algn="ctr" defTabSz="914400" latinLnBrk="1">
                <a:spcBef>
                  <a:spcPts val="200"/>
                </a:spcBef>
                <a:spcAft>
                  <a:spcPts val="200"/>
                </a:spcAft>
                <a:buFont typeface="Arial" pitchFamily="34" charset="0"/>
                <a:buChar char="•"/>
                <a:tabLst>
                  <a:tab pos="180975" algn="l"/>
                </a:tabLst>
              </a:pP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분기별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1TEU 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당 매출원가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원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)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</a:t>
              </a:r>
              <a:endPara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grpSp>
        <p:nvGrpSpPr>
          <p:cNvPr id="7" name="그룹 6"/>
          <p:cNvGrpSpPr/>
          <p:nvPr/>
        </p:nvGrpSpPr>
        <p:grpSpPr>
          <a:xfrm>
            <a:off x="712537" y="5312445"/>
            <a:ext cx="3464177" cy="702773"/>
            <a:chOff x="712537" y="5385015"/>
            <a:chExt cx="3464177" cy="702773"/>
          </a:xfrm>
        </p:grpSpPr>
        <p:sp>
          <p:nvSpPr>
            <p:cNvPr id="19" name="Rectangle 35"/>
            <p:cNvSpPr>
              <a:spLocks noChangeArrowheads="1"/>
            </p:cNvSpPr>
            <p:nvPr/>
          </p:nvSpPr>
          <p:spPr bwMode="auto">
            <a:xfrm>
              <a:off x="1794357" y="5385015"/>
              <a:ext cx="1300536" cy="38609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종속변수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12537" y="5826178"/>
              <a:ext cx="346417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algn="ctr" defTabSz="914400" latinLnBrk="1">
                <a:spcBef>
                  <a:spcPts val="200"/>
                </a:spcBef>
                <a:spcAft>
                  <a:spcPts val="200"/>
                </a:spcAft>
                <a:buFont typeface="Arial" pitchFamily="34" charset="0"/>
                <a:buChar char="•"/>
                <a:tabLst>
                  <a:tab pos="180975" algn="l"/>
                </a:tabLst>
              </a:pP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분기별 컨테이너부분 총비용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원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)</a:t>
              </a:r>
            </a:p>
          </p:txBody>
        </p:sp>
      </p:grpSp>
      <mc:AlternateContent xmlns:mc="http://schemas.openxmlformats.org/markup-compatibility/2006">
        <mc:Choice xmlns="" xmlns:cx1="http://schemas.microsoft.com/office/drawing/2015/9/8/chartex" Requires="cx1">
          <p:graphicFrame>
            <p:nvGraphicFramePr>
              <p:cNvPr id="22" name="차트 21"/>
              <p:cNvGraphicFramePr/>
              <p:nvPr>
                <p:extLst>
                  <p:ext uri="{D42A27DB-BD31-4B8C-83A1-F6EECF244321}">
                    <p14:modId xmlns:p14="http://schemas.microsoft.com/office/powerpoint/2010/main" val="553887735"/>
                  </p:ext>
                </p:extLst>
              </p:nvPr>
            </p:nvGraphicFramePr>
            <p:xfrm>
              <a:off x="4943412" y="4199690"/>
              <a:ext cx="3450493" cy="2210635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22" name="차트 21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943412" y="4199690"/>
                <a:ext cx="3450493" cy="2210635"/>
              </a:xfrm>
              <a:prstGeom prst="rect">
                <a:avLst/>
              </a:prstGeom>
            </p:spPr>
          </p:pic>
        </mc:Fallback>
      </mc:AlternateContent>
      <p:sp>
        <p:nvSpPr>
          <p:cNvPr id="25" name="TextBox 24"/>
          <p:cNvSpPr txBox="1"/>
          <p:nvPr/>
        </p:nvSpPr>
        <p:spPr>
          <a:xfrm>
            <a:off x="6347092" y="4604189"/>
            <a:ext cx="1826957" cy="7096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none" lIns="72000" tIns="72000" rIns="72000" bIns="72000" rtlCol="0">
            <a:spAutoFit/>
          </a:bodyPr>
          <a:lstStyle/>
          <a:p>
            <a:pPr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평균 오차율 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5.3%</a:t>
            </a:r>
          </a:p>
          <a:p>
            <a:pPr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오차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&gt;0)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평균 오차율 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7.32%</a:t>
            </a:r>
          </a:p>
          <a:p>
            <a:pPr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오차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&lt;0)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평균 오차율 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-4.05% </a:t>
            </a:r>
          </a:p>
        </p:txBody>
      </p:sp>
    </p:spTree>
    <p:extLst>
      <p:ext uri="{BB962C8B-B14F-4D97-AF65-F5344CB8AC3E}">
        <p14:creationId xmlns:p14="http://schemas.microsoft.com/office/powerpoint/2010/main" val="1756917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직사각형 17"/>
          <p:cNvSpPr/>
          <p:nvPr/>
        </p:nvSpPr>
        <p:spPr>
          <a:xfrm rot="5400000">
            <a:off x="5227482" y="3107379"/>
            <a:ext cx="2882354" cy="345049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61000">
                <a:srgbClr val="FFFFFF"/>
              </a:gs>
              <a:gs pos="100000">
                <a:srgbClr val="EAEAEA"/>
              </a:gs>
            </a:gsLst>
            <a:lin ang="5400000" scaled="1"/>
            <a:tileRect/>
          </a:gradFill>
          <a:ln w="9525" cap="flat" cmpd="sng" algn="ctr">
            <a:solidFill>
              <a:srgbClr val="B2B2B2"/>
            </a:solidFill>
            <a:prstDash val="solid"/>
          </a:ln>
          <a:effectLst/>
        </p:spPr>
        <p:txBody>
          <a:bodyPr vert="vert270" rtlCol="0" anchor="t"/>
          <a:lstStyle/>
          <a:p>
            <a:pPr marL="177800" lvl="0" indent="-177800" algn="ctr" defTabSz="914400" latinLnBrk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2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수입에 대한 생산량의 영향도 </a:t>
            </a:r>
            <a:r>
              <a:rPr kumimoji="1" lang="en-US" altLang="ko-KR" sz="12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kumimoji="1" lang="ko-KR" altLang="en-US" sz="12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단위당 운임 영향도</a:t>
            </a:r>
            <a:r>
              <a:rPr kumimoji="1" lang="en-US" altLang="ko-KR" sz="12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kumimoji="1" lang="en-US" altLang="ko-KR" sz="16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74:44</a:t>
            </a:r>
            <a:endParaRPr kumimoji="1" lang="en-US" altLang="ko-KR" sz="1200" b="1" dirty="0">
              <a:solidFill>
                <a:srgbClr val="363A94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9309" y="191063"/>
            <a:ext cx="374333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</a:t>
            </a: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/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수입함수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757703" y="81879"/>
            <a:ext cx="113685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5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133081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수입함수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695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사업보고서 상의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03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기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~2016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기의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55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 데이터를 기반으로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수입 함수 도출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독립변수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생산능력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임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/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종속변수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 매출액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4943415" y="2881274"/>
            <a:ext cx="3450491" cy="492443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/>
          <p:cNvSpPr txBox="1"/>
          <p:nvPr/>
        </p:nvSpPr>
        <p:spPr>
          <a:xfrm>
            <a:off x="4842608" y="2921285"/>
            <a:ext cx="3652104" cy="41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en-US" altLang="ko-KR" sz="16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TR</a:t>
            </a:r>
            <a:r>
              <a:rPr lang="ko-KR" altLang="en-US" sz="16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en-US" altLang="ko-KR" sz="16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= 46.155 x Q</a:t>
            </a:r>
            <a:r>
              <a:rPr lang="en-US" altLang="ko-KR" sz="1600" baseline="300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0.739</a:t>
            </a:r>
            <a:r>
              <a:rPr lang="en-US" altLang="ko-KR" sz="16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x P</a:t>
            </a:r>
            <a:r>
              <a:rPr lang="en-US" altLang="ko-KR" sz="1600" baseline="300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0.978</a:t>
            </a:r>
          </a:p>
        </p:txBody>
      </p:sp>
      <p:sp>
        <p:nvSpPr>
          <p:cNvPr id="16" name="오각형 15"/>
          <p:cNvSpPr/>
          <p:nvPr/>
        </p:nvSpPr>
        <p:spPr>
          <a:xfrm>
            <a:off x="665896" y="3213430"/>
            <a:ext cx="3906104" cy="3060369"/>
          </a:xfrm>
          <a:prstGeom prst="homePlate">
            <a:avLst>
              <a:gd name="adj" fmla="val 1312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endParaRPr kumimoji="1" lang="ko-KR" altLang="en-US" sz="105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7" name="직사각형 51"/>
          <p:cNvSpPr/>
          <p:nvPr/>
        </p:nvSpPr>
        <p:spPr bwMode="auto">
          <a:xfrm>
            <a:off x="652464" y="2899927"/>
            <a:ext cx="3524250" cy="316800"/>
          </a:xfrm>
          <a:prstGeom prst="rect">
            <a:avLst/>
          </a:prstGeom>
          <a:solidFill>
            <a:srgbClr val="363A9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latinLnBrk="1" hangingPunct="0">
              <a:lnSpc>
                <a:spcPct val="130000"/>
              </a:lnSpc>
              <a:spcBef>
                <a:spcPts val="200"/>
              </a:spcBef>
              <a:buClr>
                <a:srgbClr val="006699"/>
              </a:buClr>
            </a:pPr>
            <a:r>
              <a:rPr kumimoji="1" lang="ko-KR" altLang="en-US" sz="1400" b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수입 함수</a:t>
            </a:r>
          </a:p>
        </p:txBody>
      </p:sp>
      <p:grpSp>
        <p:nvGrpSpPr>
          <p:cNvPr id="19" name="그룹 18"/>
          <p:cNvGrpSpPr/>
          <p:nvPr/>
        </p:nvGrpSpPr>
        <p:grpSpPr>
          <a:xfrm>
            <a:off x="712537" y="3496917"/>
            <a:ext cx="3464177" cy="702773"/>
            <a:chOff x="712537" y="3569487"/>
            <a:chExt cx="3464177" cy="702773"/>
          </a:xfrm>
        </p:grpSpPr>
        <p:sp>
          <p:nvSpPr>
            <p:cNvPr id="20" name="Rectangle 35"/>
            <p:cNvSpPr>
              <a:spLocks noChangeArrowheads="1"/>
            </p:cNvSpPr>
            <p:nvPr/>
          </p:nvSpPr>
          <p:spPr bwMode="auto">
            <a:xfrm>
              <a:off x="1794357" y="3569487"/>
              <a:ext cx="1300536" cy="38609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en-US" altLang="ko-KR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55</a:t>
              </a:r>
              <a:r>
                <a:rPr lang="ko-KR" altLang="en-US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개의 데이터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12537" y="4010650"/>
              <a:ext cx="346417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algn="ctr" defTabSz="914400" latinLnBrk="1">
                <a:spcBef>
                  <a:spcPts val="200"/>
                </a:spcBef>
                <a:spcAft>
                  <a:spcPts val="200"/>
                </a:spcAft>
                <a:buFont typeface="Arial" pitchFamily="34" charset="0"/>
                <a:buChar char="•"/>
                <a:tabLst>
                  <a:tab pos="180975" algn="l"/>
                </a:tabLst>
              </a:pP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2003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년 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1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분기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~2016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년 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3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분기</a:t>
              </a:r>
              <a:endPara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712537" y="4294394"/>
            <a:ext cx="3464177" cy="923346"/>
            <a:chOff x="712537" y="4412558"/>
            <a:chExt cx="3464177" cy="923346"/>
          </a:xfrm>
        </p:grpSpPr>
        <p:sp>
          <p:nvSpPr>
            <p:cNvPr id="25" name="Rectangle 35"/>
            <p:cNvSpPr>
              <a:spLocks noChangeArrowheads="1"/>
            </p:cNvSpPr>
            <p:nvPr/>
          </p:nvSpPr>
          <p:spPr bwMode="auto">
            <a:xfrm>
              <a:off x="1794357" y="4412558"/>
              <a:ext cx="1300536" cy="38609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독립변수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712537" y="4853721"/>
              <a:ext cx="3464177" cy="4821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algn="ctr" defTabSz="914400" latinLnBrk="1">
                <a:spcBef>
                  <a:spcPts val="200"/>
                </a:spcBef>
                <a:spcAft>
                  <a:spcPts val="200"/>
                </a:spcAft>
                <a:buFont typeface="Arial" pitchFamily="34" charset="0"/>
                <a:buChar char="•"/>
                <a:tabLst>
                  <a:tab pos="180975" algn="l"/>
                </a:tabLst>
              </a:pP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분기별 생산능력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Capacity, TEU)</a:t>
              </a:r>
            </a:p>
            <a:p>
              <a:pPr marL="177800" indent="-177800" algn="ctr" defTabSz="914400" latinLnBrk="1">
                <a:spcBef>
                  <a:spcPts val="200"/>
                </a:spcBef>
                <a:spcAft>
                  <a:spcPts val="200"/>
                </a:spcAft>
                <a:buFont typeface="Arial" pitchFamily="34" charset="0"/>
                <a:buChar char="•"/>
                <a:tabLst>
                  <a:tab pos="180975" algn="l"/>
                </a:tabLst>
              </a:pP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분기별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1TEU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당 운임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원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)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</a:t>
              </a:r>
              <a:endParaRPr kumimoji="1" lang="en-US" altLang="ko-KR" sz="110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grpSp>
        <p:nvGrpSpPr>
          <p:cNvPr id="27" name="그룹 26"/>
          <p:cNvGrpSpPr/>
          <p:nvPr/>
        </p:nvGrpSpPr>
        <p:grpSpPr>
          <a:xfrm>
            <a:off x="712537" y="5312445"/>
            <a:ext cx="3464177" cy="702773"/>
            <a:chOff x="712537" y="5385015"/>
            <a:chExt cx="3464177" cy="702773"/>
          </a:xfrm>
        </p:grpSpPr>
        <p:sp>
          <p:nvSpPr>
            <p:cNvPr id="28" name="Rectangle 35"/>
            <p:cNvSpPr>
              <a:spLocks noChangeArrowheads="1"/>
            </p:cNvSpPr>
            <p:nvPr/>
          </p:nvSpPr>
          <p:spPr bwMode="auto">
            <a:xfrm>
              <a:off x="1794357" y="5385015"/>
              <a:ext cx="1300536" cy="38609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400" latinLnBrk="1"/>
              <a:r>
                <a:rPr lang="ko-KR" altLang="en-US" sz="1100" b="1" kern="0" dirty="0">
                  <a:solidFill>
                    <a:prstClr val="black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종속변수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12537" y="5826178"/>
              <a:ext cx="346417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algn="ctr" defTabSz="914400" latinLnBrk="1">
                <a:spcBef>
                  <a:spcPts val="200"/>
                </a:spcBef>
                <a:spcAft>
                  <a:spcPts val="200"/>
                </a:spcAft>
                <a:buFont typeface="Arial" pitchFamily="34" charset="0"/>
                <a:buChar char="•"/>
                <a:tabLst>
                  <a:tab pos="180975" algn="l"/>
                </a:tabLst>
              </a:pP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분기별 컨테이너부분 총 매출액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(</a:t>
              </a:r>
              <a:r>
                <a:rPr kumimoji="1" lang="ko-KR" altLang="en-US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원</a:t>
              </a:r>
              <a:r>
                <a:rPr kumimoji="1" lang="en-US" altLang="ko-KR" sz="1100" dirty="0">
                  <a:solidFill>
                    <a:srgbClr val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)</a:t>
              </a:r>
            </a:p>
          </p:txBody>
        </p:sp>
      </p:grpSp>
      <mc:AlternateContent xmlns:mc="http://schemas.openxmlformats.org/markup-compatibility/2006">
        <mc:Choice xmlns="" xmlns:cx1="http://schemas.microsoft.com/office/drawing/2015/9/8/chartex" Requires="cx1">
          <p:graphicFrame>
            <p:nvGraphicFramePr>
              <p:cNvPr id="32" name="차트 31"/>
              <p:cNvGraphicFramePr/>
              <p:nvPr>
                <p:extLst>
                  <p:ext uri="{D42A27DB-BD31-4B8C-83A1-F6EECF244321}">
                    <p14:modId xmlns:p14="http://schemas.microsoft.com/office/powerpoint/2010/main" val="1966066461"/>
                  </p:ext>
                </p:extLst>
              </p:nvPr>
            </p:nvGraphicFramePr>
            <p:xfrm>
              <a:off x="4930227" y="4199690"/>
              <a:ext cx="3450493" cy="221063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32" name="차트 31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930227" y="4199690"/>
                <a:ext cx="3450493" cy="2210636"/>
              </a:xfrm>
              <a:prstGeom prst="rect">
                <a:avLst/>
              </a:prstGeom>
            </p:spPr>
          </p:pic>
        </mc:Fallback>
      </mc:AlternateContent>
      <p:sp>
        <p:nvSpPr>
          <p:cNvPr id="34" name="TextBox 33"/>
          <p:cNvSpPr txBox="1"/>
          <p:nvPr/>
        </p:nvSpPr>
        <p:spPr>
          <a:xfrm>
            <a:off x="6347092" y="4604189"/>
            <a:ext cx="1826957" cy="7096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none" lIns="72000" tIns="72000" rIns="72000" bIns="72000" rtlCol="0">
            <a:spAutoFit/>
          </a:bodyPr>
          <a:lstStyle/>
          <a:p>
            <a:pPr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평균 오차율 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7.15%</a:t>
            </a:r>
          </a:p>
          <a:p>
            <a:pPr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오차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&gt;0)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평균 오차율 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8.25%</a:t>
            </a:r>
          </a:p>
          <a:p>
            <a:pPr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오차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&lt;0)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평균 오차율 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-6.52% </a:t>
            </a:r>
          </a:p>
        </p:txBody>
      </p:sp>
    </p:spTree>
    <p:extLst>
      <p:ext uri="{BB962C8B-B14F-4D97-AF65-F5344CB8AC3E}">
        <p14:creationId xmlns:p14="http://schemas.microsoft.com/office/powerpoint/2010/main" val="2374634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292099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</a:t>
            </a:r>
            <a:r>
              <a:rPr lang="en-US" altLang="ko-KR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 </a:t>
            </a:r>
            <a:r>
              <a:rPr lang="ko-KR" altLang="en-US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영업이익 모델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757703" y="81879"/>
            <a:ext cx="113685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5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259237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 영업이익 모델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695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비용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생산실적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가동률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임에 영향을 받는 총수입 예측치와 총비용 예측치를 차감하여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예측 영업이익을 도출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812386" y="2984999"/>
            <a:ext cx="1980000" cy="492443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40000"/>
              </a:lnSpc>
            </a:pPr>
            <a:r>
              <a:rPr lang="en-US" altLang="ko-KR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Total Revenue</a:t>
            </a:r>
            <a:endParaRPr lang="en-US" altLang="ko-KR" baseline="300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3554704" y="2984999"/>
            <a:ext cx="1980000" cy="492443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40000"/>
              </a:lnSpc>
            </a:pPr>
            <a:r>
              <a:rPr lang="en-US" altLang="ko-KR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Total Cost</a:t>
            </a:r>
            <a:endParaRPr lang="en-US" altLang="ko-KR" baseline="300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4" name="뺄셈 기호 3"/>
          <p:cNvSpPr/>
          <p:nvPr/>
        </p:nvSpPr>
        <p:spPr>
          <a:xfrm>
            <a:off x="2887801" y="2774020"/>
            <a:ext cx="489600" cy="914400"/>
          </a:xfrm>
          <a:prstGeom prst="mathMinus">
            <a:avLst>
              <a:gd name="adj1" fmla="val 8242"/>
            </a:avLst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2" name="등호 21"/>
          <p:cNvSpPr/>
          <p:nvPr/>
        </p:nvSpPr>
        <p:spPr>
          <a:xfrm>
            <a:off x="5730453" y="2774020"/>
            <a:ext cx="488950" cy="914400"/>
          </a:xfrm>
          <a:prstGeom prst="mathEqual">
            <a:avLst>
              <a:gd name="adj1" fmla="val 8242"/>
              <a:gd name="adj2" fmla="val 11760"/>
            </a:avLst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6430020" y="2984999"/>
            <a:ext cx="1980000" cy="492443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40000"/>
              </a:lnSpc>
            </a:pPr>
            <a:r>
              <a:rPr lang="en-US" altLang="ko-KR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Operating Profit</a:t>
            </a:r>
            <a:endParaRPr lang="en-US" altLang="ko-KR" baseline="300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6" name="직사각형 25"/>
          <p:cNvSpPr/>
          <p:nvPr/>
        </p:nvSpPr>
        <p:spPr>
          <a:xfrm rot="5400000">
            <a:off x="2766197" y="3491646"/>
            <a:ext cx="814696" cy="4722318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61000">
                <a:srgbClr val="FFFFFF"/>
              </a:gs>
              <a:gs pos="100000">
                <a:srgbClr val="EAEAEA"/>
              </a:gs>
            </a:gsLst>
            <a:lin ang="5400000" scaled="1"/>
            <a:tileRect/>
          </a:gradFill>
          <a:ln w="9525" cap="flat" cmpd="sng" algn="ctr">
            <a:solidFill>
              <a:srgbClr val="B2B2B2"/>
            </a:solidFill>
            <a:prstDash val="solid"/>
          </a:ln>
          <a:effectLst/>
        </p:spPr>
        <p:txBody>
          <a:bodyPr vert="vert270" rtlCol="0" anchor="t"/>
          <a:lstStyle/>
          <a:p>
            <a:pPr marL="177800" lvl="0" indent="-177800" algn="ctr" defTabSz="914400" latinLnBrk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endParaRPr kumimoji="1" lang="en-US" altLang="ko-KR" sz="1200" b="1" dirty="0">
              <a:solidFill>
                <a:srgbClr val="363A94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7" name="직사각형 26"/>
          <p:cNvSpPr/>
          <p:nvPr/>
        </p:nvSpPr>
        <p:spPr>
          <a:xfrm rot="5400000">
            <a:off x="6151496" y="3755966"/>
            <a:ext cx="2537048" cy="1980000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61000">
                <a:srgbClr val="FFFFFF"/>
              </a:gs>
              <a:gs pos="100000">
                <a:srgbClr val="EAEAEA"/>
              </a:gs>
            </a:gsLst>
            <a:lin ang="5400000" scaled="1"/>
            <a:tileRect/>
          </a:gradFill>
          <a:ln w="9525" cap="flat" cmpd="sng" algn="ctr">
            <a:solidFill>
              <a:srgbClr val="B2B2B2"/>
            </a:solidFill>
            <a:prstDash val="solid"/>
          </a:ln>
          <a:effectLst/>
        </p:spPr>
        <p:txBody>
          <a:bodyPr vert="vert270" rtlCol="0" anchor="t"/>
          <a:lstStyle/>
          <a:p>
            <a:pPr lvl="0" algn="ctr" defTabSz="914400" latinLnBrk="1">
              <a:lnSpc>
                <a:spcPct val="20000"/>
              </a:lnSpc>
              <a:tabLst>
                <a:tab pos="180975" algn="l"/>
              </a:tabLst>
            </a:pPr>
            <a:endParaRPr kumimoji="1" lang="en-US" altLang="ko-KR" sz="1200" b="1" dirty="0">
              <a:solidFill>
                <a:srgbClr val="363A94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 algn="ctr" defTabSz="914400" latinLnBrk="1">
              <a:spcBef>
                <a:spcPts val="1000"/>
              </a:spcBef>
              <a:spcAft>
                <a:spcPts val="300"/>
              </a:spcAft>
              <a:tabLst>
                <a:tab pos="180975" algn="l"/>
              </a:tabLst>
            </a:pPr>
            <a:r>
              <a:rPr kumimoji="1" lang="ko-KR" altLang="en-US" sz="12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수입 예측치</a:t>
            </a:r>
            <a:endParaRPr kumimoji="1" lang="en-US" altLang="ko-KR" sz="1200" b="1" dirty="0">
              <a:solidFill>
                <a:srgbClr val="363A94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lvl="0" algn="ctr" defTabSz="914400" latinLnBrk="1">
              <a:spcBef>
                <a:spcPts val="300"/>
              </a:spcBef>
              <a:spcAft>
                <a:spcPts val="300"/>
              </a:spcAft>
              <a:tabLst>
                <a:tab pos="180975" algn="l"/>
              </a:tabLst>
            </a:pPr>
            <a:r>
              <a:rPr kumimoji="1" lang="en-US" altLang="ko-KR" sz="12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</a:t>
            </a:r>
          </a:p>
          <a:p>
            <a:pPr lvl="0" algn="ctr" defTabSz="914400" latinLnBrk="1">
              <a:spcBef>
                <a:spcPts val="300"/>
              </a:spcBef>
              <a:spcAft>
                <a:spcPts val="300"/>
              </a:spcAft>
              <a:tabLst>
                <a:tab pos="180975" algn="l"/>
              </a:tabLst>
            </a:pPr>
            <a:r>
              <a:rPr kumimoji="1" lang="ko-KR" altLang="en-US" sz="12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예측치</a:t>
            </a:r>
            <a:endParaRPr kumimoji="1" lang="en-US" altLang="ko-KR" sz="1200" b="1" dirty="0">
              <a:solidFill>
                <a:srgbClr val="363A94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8" name="직사각형 27"/>
          <p:cNvSpPr/>
          <p:nvPr/>
        </p:nvSpPr>
        <p:spPr>
          <a:xfrm rot="5400000">
            <a:off x="1029920" y="3259908"/>
            <a:ext cx="1544932" cy="1980000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61000">
                <a:srgbClr val="FFFFFF"/>
              </a:gs>
              <a:gs pos="100000">
                <a:srgbClr val="EAEAEA"/>
              </a:gs>
            </a:gsLst>
            <a:lin ang="5400000" scaled="1"/>
            <a:tileRect/>
          </a:gradFill>
          <a:ln w="9525" cap="flat" cmpd="sng" algn="ctr">
            <a:solidFill>
              <a:srgbClr val="B2B2B2"/>
            </a:solidFill>
            <a:prstDash val="solid"/>
          </a:ln>
          <a:effectLst/>
        </p:spPr>
        <p:txBody>
          <a:bodyPr vert="vert270" rtlCol="0" anchor="t"/>
          <a:lstStyle/>
          <a:p>
            <a:pPr marL="177800" lvl="0" indent="-177800" algn="ctr" defTabSz="914400" latinLnBrk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2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수입 예측치</a:t>
            </a:r>
            <a:endParaRPr kumimoji="1" lang="en-US" altLang="ko-KR" sz="1200" b="1" dirty="0">
              <a:solidFill>
                <a:srgbClr val="363A94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9" name="직사각형 28"/>
          <p:cNvSpPr/>
          <p:nvPr/>
        </p:nvSpPr>
        <p:spPr>
          <a:xfrm rot="5400000">
            <a:off x="3772238" y="3259908"/>
            <a:ext cx="1544932" cy="1980000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61000">
                <a:srgbClr val="FFFFFF"/>
              </a:gs>
              <a:gs pos="100000">
                <a:srgbClr val="EAEAEA"/>
              </a:gs>
            </a:gsLst>
            <a:lin ang="5400000" scaled="1"/>
            <a:tileRect/>
          </a:gradFill>
          <a:ln w="9525" cap="flat" cmpd="sng" algn="ctr">
            <a:solidFill>
              <a:srgbClr val="B2B2B2"/>
            </a:solidFill>
            <a:prstDash val="solid"/>
          </a:ln>
          <a:effectLst/>
        </p:spPr>
        <p:txBody>
          <a:bodyPr vert="vert270" rtlCol="0" anchor="t"/>
          <a:lstStyle/>
          <a:p>
            <a:pPr marL="177800" lvl="0" indent="-177800" algn="ctr" defTabSz="914400" latinLnBrk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2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 예측치</a:t>
            </a:r>
            <a:endParaRPr kumimoji="1" lang="en-US" altLang="ko-KR" sz="1200" b="1" dirty="0">
              <a:solidFill>
                <a:srgbClr val="363A94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0" name="Rectangle 35"/>
          <p:cNvSpPr>
            <a:spLocks noChangeArrowheads="1"/>
          </p:cNvSpPr>
          <p:nvPr/>
        </p:nvSpPr>
        <p:spPr bwMode="auto">
          <a:xfrm>
            <a:off x="1083878" y="5659758"/>
            <a:ext cx="900000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목표</a:t>
            </a:r>
            <a:endParaRPr lang="en-US" altLang="ko-KR" sz="11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비용절감</a:t>
            </a:r>
            <a:r>
              <a: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%</a:t>
            </a:r>
            <a:endParaRPr lang="ko-KR" altLang="en-US" sz="11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3" name="Rectangle 35"/>
          <p:cNvSpPr>
            <a:spLocks noChangeArrowheads="1"/>
          </p:cNvSpPr>
          <p:nvPr/>
        </p:nvSpPr>
        <p:spPr bwMode="auto">
          <a:xfrm>
            <a:off x="2162051" y="5659758"/>
            <a:ext cx="900000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목표</a:t>
            </a:r>
            <a:endParaRPr lang="en-US" altLang="ko-KR" sz="11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생산실적</a:t>
            </a:r>
          </a:p>
        </p:txBody>
      </p:sp>
      <p:sp>
        <p:nvSpPr>
          <p:cNvPr id="34" name="Rectangle 35"/>
          <p:cNvSpPr>
            <a:spLocks noChangeArrowheads="1"/>
          </p:cNvSpPr>
          <p:nvPr/>
        </p:nvSpPr>
        <p:spPr bwMode="auto">
          <a:xfrm>
            <a:off x="3240224" y="5659758"/>
            <a:ext cx="900000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목표</a:t>
            </a:r>
            <a:endParaRPr lang="en-US" altLang="ko-KR" sz="11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가동률</a:t>
            </a:r>
            <a:r>
              <a: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%</a:t>
            </a:r>
            <a:endParaRPr lang="ko-KR" altLang="en-US" sz="11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5" name="Rectangle 35"/>
          <p:cNvSpPr>
            <a:spLocks noChangeArrowheads="1"/>
          </p:cNvSpPr>
          <p:nvPr/>
        </p:nvSpPr>
        <p:spPr bwMode="auto">
          <a:xfrm>
            <a:off x="4318398" y="5659758"/>
            <a:ext cx="900000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장예상</a:t>
            </a:r>
            <a:endParaRPr lang="en-US" altLang="ko-KR" sz="11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임증가</a:t>
            </a:r>
            <a:r>
              <a: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%</a:t>
            </a:r>
            <a:endParaRPr lang="ko-KR" altLang="en-US" sz="11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658579" y="3969493"/>
            <a:ext cx="1826957" cy="9148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none" lIns="72000" tIns="72000" rIns="72000" bIns="72000" rtlCol="0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최대 예측치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오차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&gt;0)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평균 오차율 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7.32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최저 예측치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오차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&lt;0)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평균 오차율 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-4.05%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07150" y="3969493"/>
            <a:ext cx="1826957" cy="9148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none" lIns="72000" tIns="72000" rIns="72000" bIns="72000" rtlCol="0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최대 예측치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오차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&gt;0)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평균 오차율 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8.25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최저 예측치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오차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&lt;0)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평균 오차율 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-6.52% </a:t>
            </a:r>
          </a:p>
        </p:txBody>
      </p:sp>
      <p:sp>
        <p:nvSpPr>
          <p:cNvPr id="38" name="이등변 삼각형 37"/>
          <p:cNvSpPr/>
          <p:nvPr/>
        </p:nvSpPr>
        <p:spPr>
          <a:xfrm>
            <a:off x="1692536" y="5182581"/>
            <a:ext cx="2880000" cy="143158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506542" y="4624057"/>
            <a:ext cx="1828800" cy="122262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최대 예측치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수입 최대 예측치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 최저예측치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최저 예측치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수입 최저 예측치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</a:t>
            </a: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 최대 예측치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296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209865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. </a:t>
            </a:r>
            <a:r>
              <a:rPr lang="ko-KR" altLang="en-US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응방향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757703" y="81879"/>
            <a:ext cx="113685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5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282160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 입장의 대응방향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372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총비용의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97%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를 차지하는 매출원가는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3%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의 용선료와 </a:t>
            </a:r>
            <a:r>
              <a:rPr lang="ko-KR" altLang="en-US" sz="1400" b="1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화물비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10%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의 기기비로 구성됨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70702" y="3901565"/>
            <a:ext cx="2334448" cy="751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 anchor="t">
            <a:no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.6%</a:t>
            </a:r>
            <a:r>
              <a:rPr lang="ko-KR" altLang="en-US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비용절감</a:t>
            </a:r>
            <a:r>
              <a: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→</a:t>
            </a:r>
            <a:r>
              <a:rPr lang="ko-KR" altLang="en-US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10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0.63%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가동률 증가 →최종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.3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.41%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생산실적  증가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→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10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4.66%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운임 증가 기대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→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0%</a:t>
            </a:r>
          </a:p>
        </p:txBody>
      </p:sp>
      <p:sp>
        <p:nvSpPr>
          <p:cNvPr id="27" name="모서리가 둥근 직사각형 26"/>
          <p:cNvSpPr/>
          <p:nvPr/>
        </p:nvSpPr>
        <p:spPr>
          <a:xfrm>
            <a:off x="770702" y="3639137"/>
            <a:ext cx="2334448" cy="262427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017</a:t>
            </a:r>
            <a:r>
              <a:rPr lang="ko-KR" altLang="en-US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년 </a:t>
            </a:r>
            <a:r>
              <a: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Goal : </a:t>
            </a:r>
            <a:r>
              <a:rPr lang="ko-KR" altLang="en-US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비용절감</a:t>
            </a:r>
            <a:endParaRPr lang="en-US" altLang="ko-KR" sz="1400" b="1" kern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white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grpSp>
        <p:nvGrpSpPr>
          <p:cNvPr id="28" name="그룹 27"/>
          <p:cNvGrpSpPr/>
          <p:nvPr/>
        </p:nvGrpSpPr>
        <p:grpSpPr>
          <a:xfrm>
            <a:off x="3416300" y="2692400"/>
            <a:ext cx="6180667" cy="3708400"/>
            <a:chOff x="0" y="0"/>
            <a:chExt cx="4572000" cy="2743200"/>
          </a:xfrm>
        </p:grpSpPr>
        <p:graphicFrame>
          <p:nvGraphicFramePr>
            <p:cNvPr id="29" name="차트 28"/>
            <p:cNvGraphicFramePr/>
            <p:nvPr>
              <p:extLst>
                <p:ext uri="{D42A27DB-BD31-4B8C-83A1-F6EECF244321}">
                  <p14:modId xmlns:p14="http://schemas.microsoft.com/office/powerpoint/2010/main" val="245764686"/>
                </p:ext>
              </p:extLst>
            </p:nvPr>
          </p:nvGraphicFramePr>
          <p:xfrm>
            <a:off x="0" y="0"/>
            <a:ext cx="4572000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30" name="TextBox 2"/>
            <p:cNvSpPr txBox="1"/>
            <p:nvPr/>
          </p:nvSpPr>
          <p:spPr>
            <a:xfrm>
              <a:off x="1327844" y="1712077"/>
              <a:ext cx="389174" cy="182136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ko-KR" altLang="en-US" sz="1000" dirty="0" err="1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화물비</a:t>
              </a:r>
              <a:endParaRPr lang="ko-KR" altLang="en-US" sz="10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1" name="TextBox 3"/>
            <p:cNvSpPr txBox="1"/>
            <p:nvPr/>
          </p:nvSpPr>
          <p:spPr>
            <a:xfrm>
              <a:off x="2779473" y="1459868"/>
              <a:ext cx="389174" cy="182136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ko-KR" altLang="en-US" sz="1000" dirty="0">
                  <a:solidFill>
                    <a:sysClr val="windowText" lastClr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용선료</a:t>
              </a:r>
            </a:p>
          </p:txBody>
        </p:sp>
        <p:sp>
          <p:nvSpPr>
            <p:cNvPr id="32" name="TextBox 4"/>
            <p:cNvSpPr txBox="1"/>
            <p:nvPr/>
          </p:nvSpPr>
          <p:spPr>
            <a:xfrm>
              <a:off x="1601274" y="856038"/>
              <a:ext cx="389174" cy="182136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ko-KR" altLang="en-US" sz="1000" dirty="0" err="1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기기비</a:t>
              </a:r>
              <a:endParaRPr lang="ko-KR" altLang="en-US" sz="10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7" name="TextBox 5"/>
            <p:cNvSpPr txBox="1"/>
            <p:nvPr/>
          </p:nvSpPr>
          <p:spPr>
            <a:xfrm>
              <a:off x="2372440" y="717968"/>
              <a:ext cx="389174" cy="182136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ko-KR" altLang="en-US" sz="1000" dirty="0">
                  <a:solidFill>
                    <a:sysClr val="windowText" lastClr="000000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원재료</a:t>
              </a:r>
            </a:p>
          </p:txBody>
        </p:sp>
        <p:sp>
          <p:nvSpPr>
            <p:cNvPr id="38" name="TextBox 6"/>
            <p:cNvSpPr txBox="1"/>
            <p:nvPr/>
          </p:nvSpPr>
          <p:spPr>
            <a:xfrm>
              <a:off x="2215988" y="2196296"/>
              <a:ext cx="304983" cy="182136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ko-KR" altLang="en-US" sz="1000" dirty="0" err="1"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항비</a:t>
              </a:r>
              <a:endParaRPr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8402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209865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. </a:t>
            </a:r>
            <a:r>
              <a:rPr lang="ko-KR" altLang="en-US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응방향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757703" y="81879"/>
            <a:ext cx="113685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5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282160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 입장의 대응방향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695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1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기부터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6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기 동안의 평균 가동률은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75%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이며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최저 가동률은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71%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최대 가동률은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84%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임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70702" y="3901565"/>
            <a:ext cx="2334448" cy="751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 anchor="t">
            <a:no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.6%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비용절감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→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10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0.63%</a:t>
            </a:r>
            <a:r>
              <a:rPr lang="ko-KR" altLang="en-US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가동률 증가</a:t>
            </a:r>
            <a:r>
              <a: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→</a:t>
            </a:r>
            <a:r>
              <a:rPr lang="ko-KR" altLang="en-US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.3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.41%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생산실적  증가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→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10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4.66%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운임 증가 기대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→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0%</a:t>
            </a:r>
          </a:p>
        </p:txBody>
      </p:sp>
      <p:sp>
        <p:nvSpPr>
          <p:cNvPr id="27" name="모서리가 둥근 직사각형 26"/>
          <p:cNvSpPr/>
          <p:nvPr/>
        </p:nvSpPr>
        <p:spPr>
          <a:xfrm>
            <a:off x="770702" y="3639137"/>
            <a:ext cx="2334448" cy="262427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017</a:t>
            </a:r>
            <a:r>
              <a:rPr lang="ko-KR" altLang="en-US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년 </a:t>
            </a:r>
            <a:r>
              <a: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Goal : </a:t>
            </a:r>
            <a:r>
              <a:rPr lang="ko-KR" altLang="en-US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비용절감</a:t>
            </a:r>
            <a:endParaRPr lang="en-US" altLang="ko-KR" sz="1400" b="1" kern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white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graphicFrame>
        <p:nvGraphicFramePr>
          <p:cNvPr id="15" name="차트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0656049"/>
              </p:ext>
            </p:extLst>
          </p:nvPr>
        </p:nvGraphicFramePr>
        <p:xfrm>
          <a:off x="4304969" y="2889250"/>
          <a:ext cx="4589584" cy="3282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3" name="직선 연결선 2"/>
          <p:cNvCxnSpPr/>
          <p:nvPr/>
        </p:nvCxnSpPr>
        <p:spPr>
          <a:xfrm>
            <a:off x="7034212" y="3419475"/>
            <a:ext cx="0" cy="245745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8241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209865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. </a:t>
            </a:r>
            <a:r>
              <a:rPr lang="ko-KR" altLang="en-US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응방향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757703" y="81879"/>
            <a:ext cx="113685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5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2821606" cy="5155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 입장의 대응방향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372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 내부적 노력과 해운동맹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부의 지원을 통한 현대상선 생산실적 향상 도모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70702" y="3901565"/>
            <a:ext cx="2334448" cy="751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 anchor="t">
            <a:no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.6%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비용절감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→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10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0.63%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가동률 증가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→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.3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.41%</a:t>
            </a:r>
            <a:r>
              <a:rPr lang="ko-KR" altLang="en-US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생산실적  증가</a:t>
            </a:r>
            <a:r>
              <a: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→</a:t>
            </a:r>
            <a:r>
              <a:rPr lang="ko-KR" altLang="en-US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10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4.66%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운임 증가 기대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→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0%</a:t>
            </a:r>
          </a:p>
        </p:txBody>
      </p:sp>
      <p:sp>
        <p:nvSpPr>
          <p:cNvPr id="14" name="모서리가 둥근 직사각형 13"/>
          <p:cNvSpPr/>
          <p:nvPr/>
        </p:nvSpPr>
        <p:spPr>
          <a:xfrm>
            <a:off x="770702" y="3639137"/>
            <a:ext cx="2334448" cy="262427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017</a:t>
            </a:r>
            <a:r>
              <a:rPr lang="ko-KR" altLang="en-US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년 </a:t>
            </a:r>
            <a:r>
              <a: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Goal : </a:t>
            </a:r>
            <a:r>
              <a:rPr lang="ko-KR" altLang="en-US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물동량 증가</a:t>
            </a:r>
            <a:endParaRPr lang="en-US" altLang="ko-KR" sz="1400" b="1" kern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white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022715" y="4425187"/>
            <a:ext cx="150844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latinLnBrk="1">
              <a:spcAft>
                <a:spcPts val="600"/>
              </a:spcAft>
            </a:pPr>
            <a:r>
              <a:rPr lang="ko-KR" altLang="en-US" sz="1300" b="1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물동량 증가</a:t>
            </a:r>
            <a:endParaRPr lang="en-US" sz="1300" b="1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26" name="막힌 원호 90"/>
          <p:cNvSpPr/>
          <p:nvPr/>
        </p:nvSpPr>
        <p:spPr>
          <a:xfrm rot="7059104">
            <a:off x="5687663" y="3543701"/>
            <a:ext cx="2081785" cy="2081785"/>
          </a:xfrm>
          <a:prstGeom prst="blockArc">
            <a:avLst>
              <a:gd name="adj1" fmla="val 15582024"/>
              <a:gd name="adj2" fmla="val 21445409"/>
              <a:gd name="adj3" fmla="val 15656"/>
            </a:avLst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1">
              <a:defRPr/>
            </a:pPr>
            <a:endParaRPr lang="en-US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28" name="막힌 원호 91"/>
          <p:cNvSpPr/>
          <p:nvPr/>
        </p:nvSpPr>
        <p:spPr>
          <a:xfrm rot="21440651">
            <a:off x="5820960" y="3300484"/>
            <a:ext cx="2081785" cy="2081785"/>
          </a:xfrm>
          <a:prstGeom prst="blockArc">
            <a:avLst>
              <a:gd name="adj1" fmla="val 17108186"/>
              <a:gd name="adj2" fmla="val 21445409"/>
              <a:gd name="adj3" fmla="val 15656"/>
            </a:avLst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1">
              <a:defRPr/>
            </a:pPr>
            <a:endParaRPr lang="en-US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29" name="막힌 원호 92"/>
          <p:cNvSpPr/>
          <p:nvPr/>
        </p:nvSpPr>
        <p:spPr>
          <a:xfrm rot="14970791">
            <a:off x="5393341" y="3676386"/>
            <a:ext cx="2081785" cy="2081785"/>
          </a:xfrm>
          <a:prstGeom prst="blockArc">
            <a:avLst>
              <a:gd name="adj1" fmla="val 17108186"/>
              <a:gd name="adj2" fmla="val 21445409"/>
              <a:gd name="adj3" fmla="val 15656"/>
            </a:avLst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1">
              <a:defRPr/>
            </a:pPr>
            <a:endParaRPr lang="en-US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30" name="타원 93"/>
          <p:cNvSpPr/>
          <p:nvPr/>
        </p:nvSpPr>
        <p:spPr>
          <a:xfrm>
            <a:off x="6189421" y="2921000"/>
            <a:ext cx="1069656" cy="932175"/>
          </a:xfrm>
          <a:prstGeom prst="ellipse">
            <a:avLst/>
          </a:prstGeom>
          <a:solidFill>
            <a:srgbClr val="363A9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내부적</a:t>
            </a:r>
            <a:endParaRPr kumimoji="0" lang="en-US" altLang="ko-KR" sz="13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300" b="1" kern="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노력</a:t>
            </a: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31" name="이등변 삼각형 94"/>
          <p:cNvSpPr/>
          <p:nvPr/>
        </p:nvSpPr>
        <p:spPr>
          <a:xfrm rot="10363406">
            <a:off x="7457144" y="4158461"/>
            <a:ext cx="594797" cy="190788"/>
          </a:xfrm>
          <a:prstGeom prst="triangle">
            <a:avLst/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1">
              <a:defRPr/>
            </a:pPr>
            <a:endParaRPr lang="en-US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32" name="타원 95"/>
          <p:cNvSpPr/>
          <p:nvPr/>
        </p:nvSpPr>
        <p:spPr>
          <a:xfrm>
            <a:off x="7269541" y="4452292"/>
            <a:ext cx="1069656" cy="932175"/>
          </a:xfrm>
          <a:prstGeom prst="ellipse">
            <a:avLst/>
          </a:prstGeom>
          <a:solidFill>
            <a:srgbClr val="363A9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정부</a:t>
            </a:r>
            <a:endParaRPr kumimoji="0" lang="en-US" altLang="ko-KR" sz="13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지원</a:t>
            </a: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33" name="이등변 삼각형 96"/>
          <p:cNvSpPr/>
          <p:nvPr/>
        </p:nvSpPr>
        <p:spPr>
          <a:xfrm rot="18151101">
            <a:off x="6000754" y="5230336"/>
            <a:ext cx="594797" cy="190788"/>
          </a:xfrm>
          <a:prstGeom prst="triangle">
            <a:avLst/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1">
              <a:defRPr/>
            </a:pPr>
            <a:endParaRPr lang="en-US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34" name="타원 97"/>
          <p:cNvSpPr/>
          <p:nvPr/>
        </p:nvSpPr>
        <p:spPr>
          <a:xfrm>
            <a:off x="5119765" y="4452292"/>
            <a:ext cx="1069656" cy="932175"/>
          </a:xfrm>
          <a:prstGeom prst="ellipse">
            <a:avLst/>
          </a:prstGeom>
          <a:solidFill>
            <a:srgbClr val="363A9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해운</a:t>
            </a:r>
            <a:endParaRPr kumimoji="0" lang="en-US" altLang="ko-KR" sz="13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300" b="1" kern="0" noProof="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동맹</a:t>
            </a: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35" name="이등변 삼각형 98"/>
          <p:cNvSpPr/>
          <p:nvPr/>
        </p:nvSpPr>
        <p:spPr>
          <a:xfrm rot="2950779">
            <a:off x="5789681" y="3723998"/>
            <a:ext cx="594798" cy="235273"/>
          </a:xfrm>
          <a:prstGeom prst="triangle">
            <a:avLst/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latinLnBrk="1">
              <a:defRPr/>
            </a:pPr>
            <a:endParaRPr lang="en-US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36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370266" y="2625340"/>
            <a:ext cx="1380036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171450" indent="-171450" defTabSz="914400" latinLnBrk="1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홍보 강화 등 신뢰도</a:t>
            </a:r>
            <a:r>
              <a:rPr kumimoji="1" lang="en-US" altLang="ko-KR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/</a:t>
            </a:r>
            <a:r>
              <a:rPr kumimoji="1"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영업력 강화</a:t>
            </a:r>
            <a:endParaRPr kumimoji="1" lang="en-US" altLang="ko-KR" sz="11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한진해운 자산 흡수</a:t>
            </a:r>
            <a:endParaRPr kumimoji="1" lang="en-US" altLang="ko-KR" sz="11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7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118166" y="5434349"/>
            <a:ext cx="1591994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171450" indent="-171450" defTabSz="914400" latinLnBrk="1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en-US" altLang="ko-KR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M </a:t>
            </a:r>
            <a:r>
              <a:rPr kumimoji="1"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동맹 가입 예정</a:t>
            </a:r>
            <a:endParaRPr kumimoji="1" lang="en-US" altLang="ko-KR" sz="11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국내 중견선사와의 미니해운동맹</a:t>
            </a:r>
            <a:endParaRPr kumimoji="1" lang="en-US" altLang="ko-KR" sz="11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8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370265" y="5541069"/>
            <a:ext cx="1380036" cy="4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171450" indent="-171450" defTabSz="914400" latinLnBrk="1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신흥시장 개척</a:t>
            </a:r>
            <a:endParaRPr kumimoji="1" lang="en-US" altLang="ko-KR" sz="11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1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선박 신조 지원</a:t>
            </a:r>
            <a:endParaRPr kumimoji="1" lang="en-US" altLang="ko-KR" sz="11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58402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209865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. </a:t>
            </a:r>
            <a:r>
              <a:rPr lang="ko-KR" altLang="en-US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응방향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757703" y="81879"/>
            <a:ext cx="113685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5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2821606" cy="5155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 입장의 대응방향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372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운임의 경우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CCFI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임지수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lang="ko-KR" altLang="en-US" sz="1400" b="1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미서안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과 가장 설명력이 높음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70702" y="3168140"/>
            <a:ext cx="2334448" cy="751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 anchor="t">
            <a:no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.6%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비용절감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→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10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0.63%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가동률 증가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→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.3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.41%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생산실적  증가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→</a:t>
            </a:r>
            <a:r>
              <a:rPr lang="ko-KR" altLang="en-US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10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별 </a:t>
            </a:r>
            <a:r>
              <a: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4.66%</a:t>
            </a:r>
            <a:r>
              <a:rPr lang="ko-KR" altLang="en-US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의 운임 증가 기대</a:t>
            </a:r>
            <a:r>
              <a: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 →</a:t>
            </a:r>
            <a:r>
              <a:rPr lang="ko-KR" altLang="en-US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최종 </a:t>
            </a:r>
            <a:r>
              <a:rPr lang="en-US" altLang="ko-KR" sz="120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0%</a:t>
            </a:r>
          </a:p>
        </p:txBody>
      </p:sp>
      <p:sp>
        <p:nvSpPr>
          <p:cNvPr id="27" name="모서리가 둥근 직사각형 26"/>
          <p:cNvSpPr/>
          <p:nvPr/>
        </p:nvSpPr>
        <p:spPr>
          <a:xfrm>
            <a:off x="770702" y="2905712"/>
            <a:ext cx="2334448" cy="262427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017</a:t>
            </a:r>
            <a:r>
              <a:rPr lang="ko-KR" altLang="en-US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년 </a:t>
            </a:r>
            <a:r>
              <a: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Goal : </a:t>
            </a:r>
            <a:r>
              <a:rPr lang="ko-KR" altLang="en-US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운임 상승</a:t>
            </a:r>
            <a:endParaRPr lang="en-US" altLang="ko-KR" sz="1400" b="1" kern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white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graphicFrame>
        <p:nvGraphicFramePr>
          <p:cNvPr id="8" name="차트 7"/>
          <p:cNvGraphicFramePr>
            <a:graphicFrameLocks/>
          </p:cNvGraphicFramePr>
          <p:nvPr/>
        </p:nvGraphicFramePr>
        <p:xfrm>
          <a:off x="770702" y="4419085"/>
          <a:ext cx="3435150" cy="2061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차트 8"/>
          <p:cNvGraphicFramePr>
            <a:graphicFrameLocks/>
          </p:cNvGraphicFramePr>
          <p:nvPr/>
        </p:nvGraphicFramePr>
        <p:xfrm>
          <a:off x="4912164" y="4400550"/>
          <a:ext cx="3435149" cy="2061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차트 11"/>
          <p:cNvGraphicFramePr>
            <a:graphicFrameLocks/>
          </p:cNvGraphicFramePr>
          <p:nvPr/>
        </p:nvGraphicFramePr>
        <p:xfrm>
          <a:off x="4912164" y="2716998"/>
          <a:ext cx="3456795" cy="2074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366695" y="5005731"/>
            <a:ext cx="78201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defTabSz="914400" latinLnBrk="1">
              <a:lnSpc>
                <a:spcPct val="150000"/>
              </a:lnSpc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 운임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4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975687" y="5802749"/>
            <a:ext cx="911013" cy="211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defTabSz="914400" latinLnBrk="1">
              <a:lnSpc>
                <a:spcPct val="150000"/>
              </a:lnSpc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CFI </a:t>
            </a:r>
            <a:r>
              <a:rPr kumimoji="1" lang="ko-KR" altLang="en-US" sz="1000" dirty="0" err="1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미서안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운임</a:t>
            </a:r>
            <a:endParaRPr kumimoji="1" lang="en-US" altLang="ko-KR" sz="10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63348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209865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. </a:t>
            </a:r>
            <a:r>
              <a:rPr lang="ko-KR" altLang="en-US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응방향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757703" y="81879"/>
            <a:ext cx="113685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5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347242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 입장의 대응방향 </a:t>
            </a: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전망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695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6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기의 생산실적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단위당 비용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임을 기준으로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7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분기별 변동률에 대한 목표 제시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2017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기 영업이익 발생 예상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8" name="자유형 7"/>
          <p:cNvSpPr/>
          <p:nvPr/>
        </p:nvSpPr>
        <p:spPr>
          <a:xfrm>
            <a:off x="607769" y="4477764"/>
            <a:ext cx="1766303" cy="0"/>
          </a:xfrm>
          <a:custGeom>
            <a:avLst/>
            <a:gdLst>
              <a:gd name="connsiteX0" fmla="*/ 0 w 2159000"/>
              <a:gd name="connsiteY0" fmla="*/ 0 h 0"/>
              <a:gd name="connsiteX1" fmla="*/ 2159000 w 2159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59000">
                <a:moveTo>
                  <a:pt x="0" y="0"/>
                </a:moveTo>
                <a:lnTo>
                  <a:pt x="215900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자유형 8"/>
          <p:cNvSpPr/>
          <p:nvPr/>
        </p:nvSpPr>
        <p:spPr>
          <a:xfrm>
            <a:off x="2374663" y="4153914"/>
            <a:ext cx="323850" cy="323850"/>
          </a:xfrm>
          <a:custGeom>
            <a:avLst/>
            <a:gdLst>
              <a:gd name="connsiteX0" fmla="*/ 0 w 323850"/>
              <a:gd name="connsiteY0" fmla="*/ 323850 h 323850"/>
              <a:gd name="connsiteX1" fmla="*/ 323850 w 323850"/>
              <a:gd name="connsiteY1" fmla="*/ 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3850" h="323850">
                <a:moveTo>
                  <a:pt x="0" y="323850"/>
                </a:moveTo>
                <a:lnTo>
                  <a:pt x="32385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Text Box 304"/>
          <p:cNvSpPr txBox="1">
            <a:spLocks noChangeArrowheads="1"/>
          </p:cNvSpPr>
          <p:nvPr/>
        </p:nvSpPr>
        <p:spPr bwMode="auto">
          <a:xfrm>
            <a:off x="590081" y="3957878"/>
            <a:ext cx="179889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defTabSz="914400" eaLnBrk="1" latinLnBrk="1" hangingPunct="1"/>
            <a:r>
              <a:rPr lang="en-US" altLang="ko-KR" sz="2800" dirty="0">
                <a:ln w="18415" cmpd="sng">
                  <a:solidFill>
                    <a:prstClr val="white">
                      <a:lumMod val="75000"/>
                      <a:alpha val="0"/>
                    </a:prstClr>
                  </a:solidFill>
                  <a:prstDash val="solid"/>
                </a:ln>
                <a:solidFill>
                  <a:srgbClr val="363A94"/>
                </a:solidFill>
                <a:effectLst>
                  <a:outerShdw blurRad="50800" dist="38100" dir="2700000" algn="tl" rotWithShape="0">
                    <a:prstClr val="black">
                      <a:alpha val="15000"/>
                    </a:prstClr>
                  </a:outerShdw>
                </a:effectLst>
                <a:latin typeface="Arial Black" pitchFamily="34" charset="0"/>
                <a:ea typeface="HY견고딕" pitchFamily="18" charset="-127"/>
                <a:cs typeface="Arial" pitchFamily="34" charset="0"/>
              </a:rPr>
              <a:t>2017-1Q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09755" y="4556804"/>
            <a:ext cx="2171240" cy="89255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1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비용 절감 목표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97.4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1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목표 가동률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73.6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1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생산실적 목표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102.41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1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운임증가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104.66%</a:t>
            </a:r>
          </a:p>
        </p:txBody>
      </p:sp>
      <p:sp>
        <p:nvSpPr>
          <p:cNvPr id="33" name="자유형 32"/>
          <p:cNvSpPr/>
          <p:nvPr/>
        </p:nvSpPr>
        <p:spPr>
          <a:xfrm>
            <a:off x="2690569" y="4147564"/>
            <a:ext cx="1766303" cy="0"/>
          </a:xfrm>
          <a:custGeom>
            <a:avLst/>
            <a:gdLst>
              <a:gd name="connsiteX0" fmla="*/ 0 w 2159000"/>
              <a:gd name="connsiteY0" fmla="*/ 0 h 0"/>
              <a:gd name="connsiteX1" fmla="*/ 2159000 w 2159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59000">
                <a:moveTo>
                  <a:pt x="0" y="0"/>
                </a:moveTo>
                <a:lnTo>
                  <a:pt x="215900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4" name="자유형 33"/>
          <p:cNvSpPr/>
          <p:nvPr/>
        </p:nvSpPr>
        <p:spPr>
          <a:xfrm>
            <a:off x="4457463" y="3823714"/>
            <a:ext cx="323850" cy="323850"/>
          </a:xfrm>
          <a:custGeom>
            <a:avLst/>
            <a:gdLst>
              <a:gd name="connsiteX0" fmla="*/ 0 w 323850"/>
              <a:gd name="connsiteY0" fmla="*/ 323850 h 323850"/>
              <a:gd name="connsiteX1" fmla="*/ 323850 w 323850"/>
              <a:gd name="connsiteY1" fmla="*/ 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3850" h="323850">
                <a:moveTo>
                  <a:pt x="0" y="323850"/>
                </a:moveTo>
                <a:lnTo>
                  <a:pt x="32385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Text Box 304"/>
          <p:cNvSpPr txBox="1">
            <a:spLocks noChangeArrowheads="1"/>
          </p:cNvSpPr>
          <p:nvPr/>
        </p:nvSpPr>
        <p:spPr bwMode="auto">
          <a:xfrm>
            <a:off x="2685476" y="3626164"/>
            <a:ext cx="179889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defTabSz="914400" eaLnBrk="1" latinLnBrk="1" hangingPunct="1"/>
            <a:r>
              <a:rPr lang="en-US" altLang="ko-KR" sz="2800" dirty="0">
                <a:ln w="18415" cmpd="sng">
                  <a:solidFill>
                    <a:prstClr val="white">
                      <a:lumMod val="75000"/>
                      <a:alpha val="0"/>
                    </a:prstClr>
                  </a:solidFill>
                  <a:prstDash val="solid"/>
                </a:ln>
                <a:solidFill>
                  <a:srgbClr val="363A94"/>
                </a:solidFill>
                <a:effectLst>
                  <a:outerShdw blurRad="50800" dist="38100" dir="2700000" algn="tl" rotWithShape="0">
                    <a:prstClr val="black">
                      <a:alpha val="15000"/>
                    </a:prstClr>
                  </a:outerShdw>
                </a:effectLst>
                <a:latin typeface="Arial Black" pitchFamily="34" charset="0"/>
                <a:ea typeface="HY견고딕" pitchFamily="18" charset="-127"/>
                <a:cs typeface="Arial" pitchFamily="34" charset="0"/>
              </a:rPr>
              <a:t>2017-2Q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592555" y="4226604"/>
            <a:ext cx="2168114" cy="89255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비용 절감 목표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94.87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가동률 목표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74.06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생산실적 목표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104.88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운임증가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109.54%</a:t>
            </a:r>
          </a:p>
        </p:txBody>
      </p:sp>
      <p:sp>
        <p:nvSpPr>
          <p:cNvPr id="40" name="자유형 39"/>
          <p:cNvSpPr/>
          <p:nvPr/>
        </p:nvSpPr>
        <p:spPr>
          <a:xfrm>
            <a:off x="4760669" y="3817364"/>
            <a:ext cx="1766303" cy="0"/>
          </a:xfrm>
          <a:custGeom>
            <a:avLst/>
            <a:gdLst>
              <a:gd name="connsiteX0" fmla="*/ 0 w 2159000"/>
              <a:gd name="connsiteY0" fmla="*/ 0 h 0"/>
              <a:gd name="connsiteX1" fmla="*/ 2159000 w 2159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59000">
                <a:moveTo>
                  <a:pt x="0" y="0"/>
                </a:moveTo>
                <a:lnTo>
                  <a:pt x="215900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1" name="자유형 40"/>
          <p:cNvSpPr/>
          <p:nvPr/>
        </p:nvSpPr>
        <p:spPr>
          <a:xfrm>
            <a:off x="6527563" y="3493514"/>
            <a:ext cx="323850" cy="323850"/>
          </a:xfrm>
          <a:custGeom>
            <a:avLst/>
            <a:gdLst>
              <a:gd name="connsiteX0" fmla="*/ 0 w 323850"/>
              <a:gd name="connsiteY0" fmla="*/ 323850 h 323850"/>
              <a:gd name="connsiteX1" fmla="*/ 323850 w 323850"/>
              <a:gd name="connsiteY1" fmla="*/ 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3850" h="323850">
                <a:moveTo>
                  <a:pt x="0" y="323850"/>
                </a:moveTo>
                <a:lnTo>
                  <a:pt x="32385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2" name="Text Box 304"/>
          <p:cNvSpPr txBox="1">
            <a:spLocks noChangeArrowheads="1"/>
          </p:cNvSpPr>
          <p:nvPr/>
        </p:nvSpPr>
        <p:spPr bwMode="auto">
          <a:xfrm>
            <a:off x="4728378" y="3290970"/>
            <a:ext cx="179889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defTabSz="914400" eaLnBrk="1" latinLnBrk="1" hangingPunct="1"/>
            <a:r>
              <a:rPr lang="en-US" altLang="ko-KR" sz="2800" dirty="0">
                <a:ln w="18415" cmpd="sng">
                  <a:solidFill>
                    <a:prstClr val="white">
                      <a:lumMod val="75000"/>
                      <a:alpha val="0"/>
                    </a:prstClr>
                  </a:solidFill>
                  <a:prstDash val="solid"/>
                </a:ln>
                <a:solidFill>
                  <a:srgbClr val="363A94"/>
                </a:solidFill>
                <a:effectLst>
                  <a:outerShdw blurRad="50800" dist="38100" dir="2700000" algn="tl" rotWithShape="0">
                    <a:prstClr val="black">
                      <a:alpha val="15000"/>
                    </a:prstClr>
                  </a:outerShdw>
                </a:effectLst>
                <a:latin typeface="Arial Black" pitchFamily="34" charset="0"/>
                <a:ea typeface="HY견고딕" pitchFamily="18" charset="-127"/>
                <a:cs typeface="Arial" pitchFamily="34" charset="0"/>
              </a:rPr>
              <a:t>2017-3Q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675589" y="3896404"/>
            <a:ext cx="2158306" cy="89255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3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비용 절감 목표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92.4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3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가동률 목표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74.52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3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생산실적 목표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107.41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3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운임증가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114.65%</a:t>
            </a:r>
          </a:p>
        </p:txBody>
      </p:sp>
      <p:sp>
        <p:nvSpPr>
          <p:cNvPr id="47" name="자유형 46"/>
          <p:cNvSpPr/>
          <p:nvPr/>
        </p:nvSpPr>
        <p:spPr>
          <a:xfrm>
            <a:off x="6843469" y="3487164"/>
            <a:ext cx="1766303" cy="0"/>
          </a:xfrm>
          <a:custGeom>
            <a:avLst/>
            <a:gdLst>
              <a:gd name="connsiteX0" fmla="*/ 0 w 2159000"/>
              <a:gd name="connsiteY0" fmla="*/ 0 h 0"/>
              <a:gd name="connsiteX1" fmla="*/ 2159000 w 2159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59000">
                <a:moveTo>
                  <a:pt x="0" y="0"/>
                </a:moveTo>
                <a:lnTo>
                  <a:pt x="215900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9" name="Text Box 304"/>
          <p:cNvSpPr txBox="1">
            <a:spLocks noChangeArrowheads="1"/>
          </p:cNvSpPr>
          <p:nvPr/>
        </p:nvSpPr>
        <p:spPr bwMode="auto">
          <a:xfrm>
            <a:off x="6827175" y="2967120"/>
            <a:ext cx="179889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defTabSz="914400" eaLnBrk="1" latinLnBrk="1" hangingPunct="1"/>
            <a:r>
              <a:rPr lang="en-US" altLang="ko-KR" sz="2800" dirty="0">
                <a:ln w="18415" cmpd="sng">
                  <a:solidFill>
                    <a:prstClr val="white">
                      <a:lumMod val="75000"/>
                      <a:alpha val="0"/>
                    </a:prstClr>
                  </a:solidFill>
                  <a:prstDash val="solid"/>
                </a:ln>
                <a:solidFill>
                  <a:srgbClr val="363A94"/>
                </a:solidFill>
                <a:effectLst>
                  <a:outerShdw blurRad="50800" dist="38100" dir="2700000" algn="tl" rotWithShape="0">
                    <a:prstClr val="black">
                      <a:alpha val="15000"/>
                    </a:prstClr>
                  </a:outerShdw>
                </a:effectLst>
                <a:latin typeface="Arial Black" pitchFamily="34" charset="0"/>
                <a:ea typeface="HY견고딕" pitchFamily="18" charset="-127"/>
                <a:cs typeface="Arial" pitchFamily="34" charset="0"/>
              </a:rPr>
              <a:t>2017-4Q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745455" y="3566204"/>
            <a:ext cx="2149098" cy="89255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4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비용 절감 목표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90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4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가동률 목표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75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4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생산실적 목표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110%</a:t>
            </a:r>
          </a:p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4</a:t>
            </a: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분기 운임증가 </a:t>
            </a:r>
            <a:r>
              <a:rPr lang="en-US" altLang="ko-KR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120%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610895" y="5472447"/>
            <a:ext cx="1826957" cy="9917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1,511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 범위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2,836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~</a:t>
            </a: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372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693695" y="5162802"/>
            <a:ext cx="1826957" cy="9917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792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 범위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2,141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~</a:t>
            </a:r>
            <a:r>
              <a:rPr kumimoji="1" lang="en-US" altLang="ko-KR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87</a:t>
            </a:r>
            <a:r>
              <a:rPr kumimoji="1" lang="ko-KR" altLang="en-US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00206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776729" y="4832602"/>
            <a:ext cx="1826957" cy="9917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182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 범위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1,549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~</a:t>
            </a:r>
            <a:r>
              <a:rPr kumimoji="1" lang="en-US" altLang="ko-KR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,028</a:t>
            </a:r>
            <a:r>
              <a:rPr kumimoji="1" lang="ko-KR" altLang="en-US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846595" y="4497629"/>
            <a:ext cx="1826957" cy="102256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20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599</a:t>
            </a:r>
            <a:r>
              <a:rPr kumimoji="1" lang="ko-KR" altLang="en-US" sz="120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200" b="1" dirty="0">
              <a:solidFill>
                <a:srgbClr val="00206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 범위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798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~</a:t>
            </a:r>
            <a:r>
              <a:rPr kumimoji="1" lang="en-US" altLang="ko-KR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,856</a:t>
            </a:r>
            <a:r>
              <a:rPr kumimoji="1" lang="ko-KR" altLang="en-US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00206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5" name="원호 4"/>
          <p:cNvSpPr/>
          <p:nvPr/>
        </p:nvSpPr>
        <p:spPr>
          <a:xfrm>
            <a:off x="1595374" y="2733304"/>
            <a:ext cx="6418326" cy="2531097"/>
          </a:xfrm>
          <a:prstGeom prst="arc">
            <a:avLst>
              <a:gd name="adj1" fmla="val 11012637"/>
              <a:gd name="adj2" fmla="val 20142247"/>
            </a:avLst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모서리가 둥근 직사각형 26"/>
          <p:cNvSpPr/>
          <p:nvPr/>
        </p:nvSpPr>
        <p:spPr>
          <a:xfrm>
            <a:off x="1648939" y="2924176"/>
            <a:ext cx="1640361" cy="450162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2017</a:t>
            </a:r>
            <a:r>
              <a:rPr lang="ko-KR" altLang="en-US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년 </a:t>
            </a:r>
            <a:r>
              <a:rPr lang="en-US" altLang="ko-KR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Goal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6769100" y="2962151"/>
            <a:ext cx="1981199" cy="2714750"/>
          </a:xfrm>
          <a:prstGeom prst="rect">
            <a:avLst/>
          </a:prstGeom>
          <a:noFill/>
          <a:ln w="28575">
            <a:solidFill>
              <a:srgbClr val="E1002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24691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292099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4. </a:t>
            </a:r>
            <a:r>
              <a:rPr lang="ko-KR" altLang="en-US" sz="320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책적 시사점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757703" y="81879"/>
            <a:ext cx="113685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5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사점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2879314" cy="5155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부 입장의 정책적 시사점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695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7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현대상선 단기 기준 분기별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Goal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달성 여부에 따른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성과급 형식의 영업손해 지원 실시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2017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기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2,300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 가량 지원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</a:p>
        </p:txBody>
      </p:sp>
      <p:sp>
        <p:nvSpPr>
          <p:cNvPr id="25" name="자유형 24"/>
          <p:cNvSpPr/>
          <p:nvPr/>
        </p:nvSpPr>
        <p:spPr>
          <a:xfrm>
            <a:off x="607769" y="4465064"/>
            <a:ext cx="1766303" cy="0"/>
          </a:xfrm>
          <a:custGeom>
            <a:avLst/>
            <a:gdLst>
              <a:gd name="connsiteX0" fmla="*/ 0 w 2159000"/>
              <a:gd name="connsiteY0" fmla="*/ 0 h 0"/>
              <a:gd name="connsiteX1" fmla="*/ 2159000 w 2159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59000">
                <a:moveTo>
                  <a:pt x="0" y="0"/>
                </a:moveTo>
                <a:lnTo>
                  <a:pt x="215900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6" name="자유형 25"/>
          <p:cNvSpPr/>
          <p:nvPr/>
        </p:nvSpPr>
        <p:spPr>
          <a:xfrm>
            <a:off x="2374663" y="4141214"/>
            <a:ext cx="323850" cy="323850"/>
          </a:xfrm>
          <a:custGeom>
            <a:avLst/>
            <a:gdLst>
              <a:gd name="connsiteX0" fmla="*/ 0 w 323850"/>
              <a:gd name="connsiteY0" fmla="*/ 323850 h 323850"/>
              <a:gd name="connsiteX1" fmla="*/ 323850 w 323850"/>
              <a:gd name="connsiteY1" fmla="*/ 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3850" h="323850">
                <a:moveTo>
                  <a:pt x="0" y="323850"/>
                </a:moveTo>
                <a:lnTo>
                  <a:pt x="32385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09755" y="4594904"/>
            <a:ext cx="1915397" cy="57708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defTabSz="914400" latinLnBrk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05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예상 영업손해 </a:t>
            </a:r>
            <a:r>
              <a:rPr lang="en-US" altLang="ko-KR" sz="105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-1,423</a:t>
            </a:r>
            <a:r>
              <a:rPr lang="ko-KR" altLang="en-US" sz="105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억원에 대한 단기 지원 실시</a:t>
            </a:r>
            <a:endParaRPr lang="en-US" altLang="ko-KR" sz="1050" b="1" dirty="0">
              <a:solidFill>
                <a:srgbClr val="C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29" name="자유형 28"/>
          <p:cNvSpPr/>
          <p:nvPr/>
        </p:nvSpPr>
        <p:spPr>
          <a:xfrm>
            <a:off x="2690569" y="4134864"/>
            <a:ext cx="1766303" cy="0"/>
          </a:xfrm>
          <a:custGeom>
            <a:avLst/>
            <a:gdLst>
              <a:gd name="connsiteX0" fmla="*/ 0 w 2159000"/>
              <a:gd name="connsiteY0" fmla="*/ 0 h 0"/>
              <a:gd name="connsiteX1" fmla="*/ 2159000 w 2159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59000">
                <a:moveTo>
                  <a:pt x="0" y="0"/>
                </a:moveTo>
                <a:lnTo>
                  <a:pt x="215900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0" name="자유형 29"/>
          <p:cNvSpPr/>
          <p:nvPr/>
        </p:nvSpPr>
        <p:spPr>
          <a:xfrm>
            <a:off x="4457463" y="3811014"/>
            <a:ext cx="323850" cy="323850"/>
          </a:xfrm>
          <a:custGeom>
            <a:avLst/>
            <a:gdLst>
              <a:gd name="connsiteX0" fmla="*/ 0 w 323850"/>
              <a:gd name="connsiteY0" fmla="*/ 323850 h 323850"/>
              <a:gd name="connsiteX1" fmla="*/ 323850 w 323850"/>
              <a:gd name="connsiteY1" fmla="*/ 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3850" h="323850">
                <a:moveTo>
                  <a:pt x="0" y="323850"/>
                </a:moveTo>
                <a:lnTo>
                  <a:pt x="32385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592555" y="4264704"/>
            <a:ext cx="1864317" cy="57708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defTabSz="914400" latinLnBrk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05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예상 영업손해 </a:t>
            </a:r>
            <a:r>
              <a:rPr lang="en-US" altLang="ko-KR" sz="105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-673</a:t>
            </a:r>
            <a:r>
              <a:rPr lang="ko-KR" altLang="en-US" sz="105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억원에 대한 단기 지원 실시</a:t>
            </a:r>
            <a:endParaRPr lang="en-US" altLang="ko-KR" sz="1050" b="1" dirty="0">
              <a:solidFill>
                <a:srgbClr val="C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33" name="자유형 32"/>
          <p:cNvSpPr/>
          <p:nvPr/>
        </p:nvSpPr>
        <p:spPr>
          <a:xfrm>
            <a:off x="4760669" y="3804664"/>
            <a:ext cx="1766303" cy="0"/>
          </a:xfrm>
          <a:custGeom>
            <a:avLst/>
            <a:gdLst>
              <a:gd name="connsiteX0" fmla="*/ 0 w 2159000"/>
              <a:gd name="connsiteY0" fmla="*/ 0 h 0"/>
              <a:gd name="connsiteX1" fmla="*/ 2159000 w 2159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59000">
                <a:moveTo>
                  <a:pt x="0" y="0"/>
                </a:moveTo>
                <a:lnTo>
                  <a:pt x="215900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4" name="자유형 33"/>
          <p:cNvSpPr/>
          <p:nvPr/>
        </p:nvSpPr>
        <p:spPr>
          <a:xfrm>
            <a:off x="6527563" y="3480814"/>
            <a:ext cx="323850" cy="323850"/>
          </a:xfrm>
          <a:custGeom>
            <a:avLst/>
            <a:gdLst>
              <a:gd name="connsiteX0" fmla="*/ 0 w 323850"/>
              <a:gd name="connsiteY0" fmla="*/ 323850 h 323850"/>
              <a:gd name="connsiteX1" fmla="*/ 323850 w 323850"/>
              <a:gd name="connsiteY1" fmla="*/ 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3850" h="323850">
                <a:moveTo>
                  <a:pt x="0" y="323850"/>
                </a:moveTo>
                <a:lnTo>
                  <a:pt x="32385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675589" y="3934504"/>
            <a:ext cx="2158306" cy="57708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defTabSz="914400" latinLnBrk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05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예상 영업손해 </a:t>
            </a:r>
            <a:r>
              <a:rPr lang="en-US" altLang="ko-KR" sz="105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: -182</a:t>
            </a:r>
            <a:r>
              <a:rPr lang="ko-KR" altLang="en-US" sz="1050" b="1" dirty="0">
                <a:solidFill>
                  <a:srgbClr val="C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억원에 대한 단기 지원 실시</a:t>
            </a:r>
            <a:endParaRPr lang="en-US" altLang="ko-KR" sz="1050" b="1" dirty="0">
              <a:solidFill>
                <a:srgbClr val="C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37" name="자유형 36"/>
          <p:cNvSpPr/>
          <p:nvPr/>
        </p:nvSpPr>
        <p:spPr>
          <a:xfrm>
            <a:off x="6843469" y="3474464"/>
            <a:ext cx="1766303" cy="0"/>
          </a:xfrm>
          <a:custGeom>
            <a:avLst/>
            <a:gdLst>
              <a:gd name="connsiteX0" fmla="*/ 0 w 2159000"/>
              <a:gd name="connsiteY0" fmla="*/ 0 h 0"/>
              <a:gd name="connsiteX1" fmla="*/ 2159000 w 2159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59000">
                <a:moveTo>
                  <a:pt x="0" y="0"/>
                </a:moveTo>
                <a:lnTo>
                  <a:pt x="2159000" y="0"/>
                </a:lnTo>
              </a:path>
            </a:pathLst>
          </a:cu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E3C7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745455" y="3604304"/>
            <a:ext cx="1960461" cy="57708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 defTabSz="914400" latinLnBrk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ko-KR" altLang="en-US" sz="1050" b="1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영업이익 회복으로 인한 재정상태 회복 기대 </a:t>
            </a:r>
            <a:endParaRPr lang="en-US" altLang="ko-KR" sz="1050" b="1" dirty="0">
              <a:solidFill>
                <a:srgbClr val="002060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98195" y="5231147"/>
            <a:ext cx="1826957" cy="9917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1,423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 범위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2,724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~</a:t>
            </a: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302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680995" y="4921502"/>
            <a:ext cx="1826957" cy="9917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673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 범위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1,974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~</a:t>
            </a:r>
            <a:r>
              <a:rPr kumimoji="1" lang="en-US" altLang="ko-KR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466</a:t>
            </a:r>
            <a:r>
              <a:rPr kumimoji="1" lang="ko-KR" altLang="en-US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00206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764029" y="4591302"/>
            <a:ext cx="1826957" cy="9917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83</a:t>
            </a:r>
            <a:r>
              <a:rPr kumimoji="1" lang="ko-KR" altLang="en-US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00206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 범위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1,219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~</a:t>
            </a:r>
            <a:r>
              <a:rPr kumimoji="1" lang="en-US" altLang="ko-KR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,242</a:t>
            </a:r>
            <a:r>
              <a:rPr kumimoji="1" lang="ko-KR" altLang="en-US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833895" y="4256329"/>
            <a:ext cx="1826957" cy="9917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marL="171450" indent="-171450" defTabSz="914400" latinLnBrk="1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851</a:t>
            </a:r>
            <a:r>
              <a:rPr kumimoji="1" lang="ko-KR" altLang="en-US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00206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71450" indent="-171450" defTabSz="914400" latinLnBrk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kumimoji="1" lang="ko-KR" altLang="en-US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예상 영업이익 범위</a:t>
            </a:r>
            <a:endParaRPr kumimoji="1" lang="en-US" altLang="ko-KR" sz="1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180000" lvl="1" defTabSz="914400" latinLnBrk="1">
              <a:spcBef>
                <a:spcPts val="200"/>
              </a:spcBef>
              <a:spcAft>
                <a:spcPts val="200"/>
              </a:spcAft>
              <a:tabLst>
                <a:tab pos="180975" algn="l"/>
              </a:tabLst>
            </a:pPr>
            <a:r>
              <a:rPr kumimoji="1" lang="en-US" altLang="ko-KR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-455</a:t>
            </a:r>
            <a:r>
              <a:rPr kumimoji="1" lang="ko-KR" altLang="en-US" sz="10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r>
              <a:rPr kumimoji="1" lang="en-US" altLang="ko-KR" sz="1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~</a:t>
            </a:r>
            <a:r>
              <a:rPr kumimoji="1" lang="en-US" altLang="ko-KR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32</a:t>
            </a:r>
            <a:r>
              <a:rPr kumimoji="1" lang="ko-KR" altLang="en-US" sz="1000" dirty="0">
                <a:solidFill>
                  <a:srgbClr val="00206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억원</a:t>
            </a:r>
            <a:endParaRPr kumimoji="1" lang="en-US" altLang="ko-KR" sz="1000" dirty="0">
              <a:solidFill>
                <a:srgbClr val="00206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46" name="Text Box 304"/>
          <p:cNvSpPr txBox="1">
            <a:spLocks noChangeArrowheads="1"/>
          </p:cNvSpPr>
          <p:nvPr/>
        </p:nvSpPr>
        <p:spPr bwMode="auto">
          <a:xfrm>
            <a:off x="590081" y="3957878"/>
            <a:ext cx="179889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defTabSz="914400" eaLnBrk="1" latinLnBrk="1" hangingPunct="1"/>
            <a:r>
              <a:rPr lang="en-US" altLang="ko-KR" sz="2800" dirty="0">
                <a:ln w="18415" cmpd="sng">
                  <a:solidFill>
                    <a:prstClr val="white">
                      <a:lumMod val="75000"/>
                      <a:alpha val="0"/>
                    </a:prstClr>
                  </a:solidFill>
                  <a:prstDash val="solid"/>
                </a:ln>
                <a:solidFill>
                  <a:srgbClr val="363A94"/>
                </a:solidFill>
                <a:effectLst>
                  <a:outerShdw blurRad="50800" dist="38100" dir="2700000" algn="tl" rotWithShape="0">
                    <a:prstClr val="black">
                      <a:alpha val="15000"/>
                    </a:prstClr>
                  </a:outerShdw>
                </a:effectLst>
                <a:latin typeface="Arial Black" pitchFamily="34" charset="0"/>
                <a:ea typeface="HY견고딕" pitchFamily="18" charset="-127"/>
                <a:cs typeface="Arial" pitchFamily="34" charset="0"/>
              </a:rPr>
              <a:t>2017-1Q</a:t>
            </a:r>
          </a:p>
        </p:txBody>
      </p:sp>
      <p:sp>
        <p:nvSpPr>
          <p:cNvPr id="47" name="Text Box 304"/>
          <p:cNvSpPr txBox="1">
            <a:spLocks noChangeArrowheads="1"/>
          </p:cNvSpPr>
          <p:nvPr/>
        </p:nvSpPr>
        <p:spPr bwMode="auto">
          <a:xfrm>
            <a:off x="2685476" y="3626164"/>
            <a:ext cx="179889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defTabSz="914400" eaLnBrk="1" latinLnBrk="1" hangingPunct="1"/>
            <a:r>
              <a:rPr lang="en-US" altLang="ko-KR" sz="2800" dirty="0">
                <a:ln w="18415" cmpd="sng">
                  <a:solidFill>
                    <a:prstClr val="white">
                      <a:lumMod val="75000"/>
                      <a:alpha val="0"/>
                    </a:prstClr>
                  </a:solidFill>
                  <a:prstDash val="solid"/>
                </a:ln>
                <a:solidFill>
                  <a:srgbClr val="363A94"/>
                </a:solidFill>
                <a:effectLst>
                  <a:outerShdw blurRad="50800" dist="38100" dir="2700000" algn="tl" rotWithShape="0">
                    <a:prstClr val="black">
                      <a:alpha val="15000"/>
                    </a:prstClr>
                  </a:outerShdw>
                </a:effectLst>
                <a:latin typeface="Arial Black" pitchFamily="34" charset="0"/>
                <a:ea typeface="HY견고딕" pitchFamily="18" charset="-127"/>
                <a:cs typeface="Arial" pitchFamily="34" charset="0"/>
              </a:rPr>
              <a:t>2017-2Q</a:t>
            </a:r>
          </a:p>
        </p:txBody>
      </p:sp>
      <p:sp>
        <p:nvSpPr>
          <p:cNvPr id="48" name="Text Box 304"/>
          <p:cNvSpPr txBox="1">
            <a:spLocks noChangeArrowheads="1"/>
          </p:cNvSpPr>
          <p:nvPr/>
        </p:nvSpPr>
        <p:spPr bwMode="auto">
          <a:xfrm>
            <a:off x="4728378" y="3290970"/>
            <a:ext cx="179889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defTabSz="914400" eaLnBrk="1" latinLnBrk="1" hangingPunct="1"/>
            <a:r>
              <a:rPr lang="en-US" altLang="ko-KR" sz="2800" dirty="0">
                <a:ln w="18415" cmpd="sng">
                  <a:solidFill>
                    <a:prstClr val="white">
                      <a:lumMod val="75000"/>
                      <a:alpha val="0"/>
                    </a:prstClr>
                  </a:solidFill>
                  <a:prstDash val="solid"/>
                </a:ln>
                <a:solidFill>
                  <a:srgbClr val="363A94"/>
                </a:solidFill>
                <a:effectLst>
                  <a:outerShdw blurRad="50800" dist="38100" dir="2700000" algn="tl" rotWithShape="0">
                    <a:prstClr val="black">
                      <a:alpha val="15000"/>
                    </a:prstClr>
                  </a:outerShdw>
                </a:effectLst>
                <a:latin typeface="Arial Black" pitchFamily="34" charset="0"/>
                <a:ea typeface="HY견고딕" pitchFamily="18" charset="-127"/>
                <a:cs typeface="Arial" pitchFamily="34" charset="0"/>
              </a:rPr>
              <a:t>2017-3Q</a:t>
            </a:r>
          </a:p>
        </p:txBody>
      </p:sp>
      <p:sp>
        <p:nvSpPr>
          <p:cNvPr id="49" name="Text Box 304"/>
          <p:cNvSpPr txBox="1">
            <a:spLocks noChangeArrowheads="1"/>
          </p:cNvSpPr>
          <p:nvPr/>
        </p:nvSpPr>
        <p:spPr bwMode="auto">
          <a:xfrm>
            <a:off x="6827175" y="2967120"/>
            <a:ext cx="179889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defTabSz="914400" eaLnBrk="1" latinLnBrk="1" hangingPunct="1"/>
            <a:r>
              <a:rPr lang="en-US" altLang="ko-KR" sz="2800" dirty="0">
                <a:ln w="18415" cmpd="sng">
                  <a:solidFill>
                    <a:prstClr val="white">
                      <a:lumMod val="75000"/>
                      <a:alpha val="0"/>
                    </a:prstClr>
                  </a:solidFill>
                  <a:prstDash val="solid"/>
                </a:ln>
                <a:solidFill>
                  <a:srgbClr val="363A94"/>
                </a:solidFill>
                <a:effectLst>
                  <a:outerShdw blurRad="50800" dist="38100" dir="2700000" algn="tl" rotWithShape="0">
                    <a:prstClr val="black">
                      <a:alpha val="15000"/>
                    </a:prstClr>
                  </a:outerShdw>
                </a:effectLst>
                <a:latin typeface="Arial Black" pitchFamily="34" charset="0"/>
                <a:ea typeface="HY견고딕" pitchFamily="18" charset="-127"/>
                <a:cs typeface="Arial" pitchFamily="34" charset="0"/>
              </a:rPr>
              <a:t>2017-4Q</a:t>
            </a:r>
          </a:p>
        </p:txBody>
      </p:sp>
      <p:sp>
        <p:nvSpPr>
          <p:cNvPr id="50" name="직사각형 49"/>
          <p:cNvSpPr/>
          <p:nvPr/>
        </p:nvSpPr>
        <p:spPr>
          <a:xfrm>
            <a:off x="508001" y="2962150"/>
            <a:ext cx="6261100" cy="3311649"/>
          </a:xfrm>
          <a:prstGeom prst="rect">
            <a:avLst/>
          </a:prstGeom>
          <a:noFill/>
          <a:ln w="28575">
            <a:solidFill>
              <a:srgbClr val="E1002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모서리가 둥근 직사각형 50"/>
          <p:cNvSpPr/>
          <p:nvPr/>
        </p:nvSpPr>
        <p:spPr>
          <a:xfrm>
            <a:off x="478602" y="2927937"/>
            <a:ext cx="2334448" cy="262427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r>
              <a:rPr lang="ko-KR" altLang="en-US" sz="14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white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정부의 단기적 지원 필요</a:t>
            </a:r>
            <a:endParaRPr lang="en-US" altLang="ko-KR" sz="1400" b="1" kern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white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1887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219002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 배경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28473" y="81879"/>
            <a:ext cx="136608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AutoNum type="romanUcPeriod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 개요</a:t>
            </a:r>
            <a:endParaRPr lang="en-US" altLang="ko-KR" sz="1600" b="1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138852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의 배경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695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물동량 증가율 보다 높은 </a:t>
            </a:r>
            <a:r>
              <a:rPr lang="ko-KR" altLang="en-US" sz="1400" b="1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선복량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증가율에 따른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운송서비스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공급과잉으로 인한 해운업 운임의 지속적인 하락 추이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4</a:t>
            </a:fld>
            <a:endParaRPr lang="ko-KR" altLang="en-US"/>
          </a:p>
        </p:txBody>
      </p:sp>
      <p:sp>
        <p:nvSpPr>
          <p:cNvPr id="29" name="직사각형 9"/>
          <p:cNvSpPr/>
          <p:nvPr/>
        </p:nvSpPr>
        <p:spPr>
          <a:xfrm>
            <a:off x="2230228" y="5950633"/>
            <a:ext cx="4683545" cy="444850"/>
          </a:xfrm>
          <a:prstGeom prst="rect">
            <a:avLst/>
          </a:prstGeom>
          <a:solidFill>
            <a:srgbClr val="363A94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300" b="1" kern="0" dirty="0" smtClean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rPr>
              <a:t>초과공급으로 인한 </a:t>
            </a:r>
            <a:r>
              <a:rPr lang="ko-KR" altLang="en-US" sz="1300" b="1" kern="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rPr>
              <a:t>지속적인 운임 감소 </a:t>
            </a:r>
            <a:endParaRPr kumimoji="0" lang="en-US" sz="1300" b="1" i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함초롬돋움" panose="020B0604000101010101" pitchFamily="50" charset="-127"/>
            </a:endParaRPr>
          </a:p>
        </p:txBody>
      </p:sp>
      <p:sp>
        <p:nvSpPr>
          <p:cNvPr id="31" name="Rectangle 12"/>
          <p:cNvSpPr>
            <a:spLocks noChangeArrowheads="1"/>
          </p:cNvSpPr>
          <p:nvPr/>
        </p:nvSpPr>
        <p:spPr bwMode="auto">
          <a:xfrm>
            <a:off x="4286543" y="2613010"/>
            <a:ext cx="4536000" cy="2923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rIns="0" anchor="b">
            <a:spAutoFit/>
          </a:bodyPr>
          <a:lstStyle/>
          <a:p>
            <a:pPr algn="ctr" latinLnBrk="0">
              <a:spcBef>
                <a:spcPct val="20000"/>
              </a:spcBef>
              <a:defRPr/>
            </a:pPr>
            <a:r>
              <a:rPr lang="ko-KR" altLang="en-US" sz="1300" kern="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rPr>
              <a:t>해운업 운임 추이</a:t>
            </a:r>
            <a:r>
              <a:rPr lang="en-US" altLang="ko-KR" sz="1300" kern="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rPr>
              <a:t> : 2010~2016(</a:t>
            </a:r>
            <a:r>
              <a:rPr lang="ko-KR" altLang="en-US" sz="1300" kern="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rPr>
              <a:t>달러</a:t>
            </a:r>
            <a:r>
              <a:rPr lang="en-US" altLang="ko-KR" sz="1300" kern="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rPr>
              <a:t>/TEU)</a:t>
            </a:r>
            <a:endParaRPr lang="en-US" sz="1300" kern="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함초롬돋움" panose="020B0604000101010101" pitchFamily="50" charset="-127"/>
            </a:endParaRPr>
          </a:p>
        </p:txBody>
      </p:sp>
      <p:sp>
        <p:nvSpPr>
          <p:cNvPr id="32" name="Line 13"/>
          <p:cNvSpPr>
            <a:spLocks noChangeShapeType="1"/>
          </p:cNvSpPr>
          <p:nvPr/>
        </p:nvSpPr>
        <p:spPr bwMode="auto">
          <a:xfrm flipV="1">
            <a:off x="4693131" y="2910107"/>
            <a:ext cx="3906104" cy="1881"/>
          </a:xfrm>
          <a:prstGeom prst="line">
            <a:avLst/>
          </a:prstGeom>
          <a:noFill/>
          <a:ln w="12700">
            <a:solidFill>
              <a:srgbClr val="C7E0FB">
                <a:lumMod val="10000"/>
              </a:srgbClr>
            </a:solidFill>
            <a:round/>
            <a:headEnd/>
            <a:tailEnd/>
          </a:ln>
        </p:spPr>
        <p:txBody>
          <a:bodyPr wrap="none" anchor="ctr"/>
          <a:lstStyle/>
          <a:p>
            <a:pPr algn="ctr" latinLnBrk="0">
              <a:defRPr/>
            </a:pPr>
            <a:endParaRPr lang="en-US" sz="1300" kern="0" dirty="0">
              <a:solidFill>
                <a:sysClr val="windowText" lastClr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함초롬돋움" panose="020B0604000101010101" pitchFamily="50" charset="-127"/>
            </a:endParaRPr>
          </a:p>
        </p:txBody>
      </p:sp>
      <p:sp>
        <p:nvSpPr>
          <p:cNvPr id="33" name="Rectangle 12"/>
          <p:cNvSpPr>
            <a:spLocks noChangeArrowheads="1"/>
          </p:cNvSpPr>
          <p:nvPr/>
        </p:nvSpPr>
        <p:spPr bwMode="auto">
          <a:xfrm>
            <a:off x="274296" y="2619458"/>
            <a:ext cx="4536000" cy="2923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rIns="0" anchor="b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ko-KR" altLang="en-US" sz="1300" kern="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rPr>
              <a:t>수요 공급 증가율 차이 </a:t>
            </a:r>
            <a:r>
              <a:rPr lang="en-US" altLang="ko-KR" sz="1300" kern="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함초롬돋움" panose="020B0604000101010101" pitchFamily="50" charset="-127"/>
              </a:rPr>
              <a:t>: 2010-2016</a:t>
            </a:r>
          </a:p>
        </p:txBody>
      </p:sp>
      <p:sp>
        <p:nvSpPr>
          <p:cNvPr id="34" name="Line 13"/>
          <p:cNvSpPr>
            <a:spLocks noChangeShapeType="1"/>
          </p:cNvSpPr>
          <p:nvPr/>
        </p:nvSpPr>
        <p:spPr bwMode="auto">
          <a:xfrm flipV="1">
            <a:off x="680884" y="2916555"/>
            <a:ext cx="3906104" cy="1881"/>
          </a:xfrm>
          <a:prstGeom prst="line">
            <a:avLst/>
          </a:prstGeom>
          <a:noFill/>
          <a:ln w="12700">
            <a:solidFill>
              <a:srgbClr val="C7E0FB">
                <a:lumMod val="10000"/>
              </a:srgbClr>
            </a:solidFill>
            <a:round/>
            <a:headEnd/>
            <a:tailEnd/>
          </a:ln>
        </p:spPr>
        <p:txBody>
          <a:bodyPr wrap="none" anchor="ctr"/>
          <a:lstStyle/>
          <a:p>
            <a:pPr algn="ctr" latinLnBrk="0">
              <a:defRPr/>
            </a:pPr>
            <a:endParaRPr lang="en-US" sz="1300" kern="0" dirty="0">
              <a:solidFill>
                <a:sysClr val="windowText" lastClr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함초롬돋움" panose="020B0604000101010101" pitchFamily="50" charset="-127"/>
            </a:endParaRPr>
          </a:p>
        </p:txBody>
      </p:sp>
      <p:graphicFrame>
        <p:nvGraphicFramePr>
          <p:cNvPr id="35" name="차트 34"/>
          <p:cNvGraphicFramePr>
            <a:graphicFrameLocks/>
          </p:cNvGraphicFramePr>
          <p:nvPr/>
        </p:nvGraphicFramePr>
        <p:xfrm>
          <a:off x="4711447" y="3052982"/>
          <a:ext cx="3887788" cy="2533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7" name="차트 36"/>
          <p:cNvGraphicFramePr>
            <a:graphicFrameLocks/>
          </p:cNvGraphicFramePr>
          <p:nvPr/>
        </p:nvGraphicFramePr>
        <p:xfrm>
          <a:off x="685653" y="3068638"/>
          <a:ext cx="3933825" cy="2522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이등변 삼각형 37"/>
          <p:cNvSpPr/>
          <p:nvPr/>
        </p:nvSpPr>
        <p:spPr>
          <a:xfrm flipV="1">
            <a:off x="3519354" y="5693712"/>
            <a:ext cx="2160000" cy="143158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58929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직사각형 26"/>
          <p:cNvSpPr/>
          <p:nvPr/>
        </p:nvSpPr>
        <p:spPr>
          <a:xfrm>
            <a:off x="1330054" y="2366683"/>
            <a:ext cx="6494929" cy="2238327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25" name="그룹 24"/>
          <p:cNvGrpSpPr/>
          <p:nvPr/>
        </p:nvGrpSpPr>
        <p:grpSpPr>
          <a:xfrm>
            <a:off x="215900" y="261098"/>
            <a:ext cx="2733697" cy="982312"/>
            <a:chOff x="711200" y="28874"/>
            <a:chExt cx="2733697" cy="982312"/>
          </a:xfrm>
        </p:grpSpPr>
        <p:grpSp>
          <p:nvGrpSpPr>
            <p:cNvPr id="5" name="그룹 4"/>
            <p:cNvGrpSpPr/>
            <p:nvPr/>
          </p:nvGrpSpPr>
          <p:grpSpPr>
            <a:xfrm rot="5400000">
              <a:off x="1623441" y="-198731"/>
              <a:ext cx="782215" cy="1560676"/>
              <a:chOff x="9569901" y="1715801"/>
              <a:chExt cx="2880000" cy="5746176"/>
            </a:xfrm>
          </p:grpSpPr>
          <p:sp>
            <p:nvSpPr>
              <p:cNvPr id="19" name="직사각형 18"/>
              <p:cNvSpPr/>
              <p:nvPr/>
            </p:nvSpPr>
            <p:spPr>
              <a:xfrm>
                <a:off x="11009901" y="3158414"/>
                <a:ext cx="1440000" cy="1440000"/>
              </a:xfrm>
              <a:prstGeom prst="rect">
                <a:avLst/>
              </a:prstGeom>
              <a:solidFill>
                <a:srgbClr val="000C2A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0" name="직사각형 19"/>
              <p:cNvSpPr/>
              <p:nvPr/>
            </p:nvSpPr>
            <p:spPr>
              <a:xfrm>
                <a:off x="11009901" y="4581977"/>
                <a:ext cx="1440000" cy="1440000"/>
              </a:xfrm>
              <a:prstGeom prst="rect">
                <a:avLst/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1" name="직사각형 20"/>
              <p:cNvSpPr/>
              <p:nvPr/>
            </p:nvSpPr>
            <p:spPr>
              <a:xfrm>
                <a:off x="11009901" y="6021977"/>
                <a:ext cx="1440000" cy="14400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  <a:alpha val="9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2" name="직사각형 21"/>
              <p:cNvSpPr/>
              <p:nvPr/>
            </p:nvSpPr>
            <p:spPr>
              <a:xfrm>
                <a:off x="9569901" y="4581977"/>
                <a:ext cx="1440000" cy="144000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  <a:alpha val="9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3" name="직사각형 22"/>
              <p:cNvSpPr/>
              <p:nvPr/>
            </p:nvSpPr>
            <p:spPr>
              <a:xfrm>
                <a:off x="9569901" y="3158414"/>
                <a:ext cx="1440000" cy="1440000"/>
              </a:xfrm>
              <a:prstGeom prst="rect">
                <a:avLst/>
              </a:prstGeom>
              <a:solidFill>
                <a:srgbClr val="00206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4" name="직사각형 23"/>
              <p:cNvSpPr/>
              <p:nvPr/>
            </p:nvSpPr>
            <p:spPr>
              <a:xfrm>
                <a:off x="11009901" y="1715801"/>
                <a:ext cx="1440000" cy="1440000"/>
              </a:xfrm>
              <a:prstGeom prst="rect">
                <a:avLst/>
              </a:prstGeom>
              <a:solidFill>
                <a:srgbClr val="002060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7" name="TextBox 6"/>
            <p:cNvSpPr txBox="1"/>
            <p:nvPr/>
          </p:nvSpPr>
          <p:spPr>
            <a:xfrm>
              <a:off x="711200" y="457188"/>
              <a:ext cx="2733697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ko-KR" altLang="en-US" sz="2000" b="1" dirty="0">
                  <a:solidFill>
                    <a:schemeClr val="bg1">
                      <a:lumMod val="50000"/>
                    </a:schemeClr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六曹 </a:t>
              </a:r>
              <a:r>
                <a:rPr lang="en-US" altLang="ko-KR" sz="2000" b="1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Consulting G</a:t>
              </a:r>
              <a:r>
                <a:rPr lang="en-US" altLang="ko-KR" sz="2000" b="1" dirty="0">
                  <a:solidFill>
                    <a:schemeClr val="bg1">
                      <a:lumMod val="50000"/>
                    </a:schemeClr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roup</a:t>
              </a:r>
              <a:endParaRPr lang="ko-KR" altLang="en-US" sz="2000" b="1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11" name="원호 10"/>
            <p:cNvSpPr/>
            <p:nvPr/>
          </p:nvSpPr>
          <p:spPr>
            <a:xfrm>
              <a:off x="978704" y="28874"/>
              <a:ext cx="2071689" cy="914400"/>
            </a:xfrm>
            <a:prstGeom prst="arc">
              <a:avLst>
                <a:gd name="adj1" fmla="val 11482701"/>
                <a:gd name="adj2" fmla="val 21078914"/>
              </a:avLst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1028" name="Picture 4" descr="관련 이미지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2" t="10779" r="1215" b="10480"/>
          <a:stretch/>
        </p:blipFill>
        <p:spPr bwMode="auto">
          <a:xfrm>
            <a:off x="6516910" y="5988180"/>
            <a:ext cx="2049962" cy="447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141356" y="2627150"/>
            <a:ext cx="2872325" cy="17173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44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Thank you</a:t>
            </a:r>
          </a:p>
          <a:p>
            <a:pPr algn="ctr">
              <a:lnSpc>
                <a:spcPct val="120000"/>
              </a:lnSpc>
            </a:pPr>
            <a:r>
              <a:rPr lang="en-US" altLang="ko-KR" sz="44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Q&amp;A</a:t>
            </a:r>
            <a:endParaRPr lang="ko-KR" altLang="en-US" sz="4400" b="1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54452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219002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 목적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28473" y="81879"/>
            <a:ext cx="136608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AutoNum type="romanUcPeriod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 개요</a:t>
            </a:r>
            <a:endParaRPr lang="en-US" altLang="ko-KR" sz="1600" b="1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2" name="Freeform 106"/>
          <p:cNvSpPr>
            <a:spLocks/>
          </p:cNvSpPr>
          <p:nvPr/>
        </p:nvSpPr>
        <p:spPr bwMode="auto">
          <a:xfrm>
            <a:off x="2602624" y="3561115"/>
            <a:ext cx="3971048" cy="531752"/>
          </a:xfrm>
          <a:custGeom>
            <a:avLst/>
            <a:gdLst>
              <a:gd name="T0" fmla="*/ 2281 w 2766"/>
              <a:gd name="T1" fmla="*/ 1456 h 2744"/>
              <a:gd name="T2" fmla="*/ 2737 w 2766"/>
              <a:gd name="T3" fmla="*/ 1445 h 2744"/>
              <a:gd name="T4" fmla="*/ 2680 w 2766"/>
              <a:gd name="T5" fmla="*/ 1419 h 2744"/>
              <a:gd name="T6" fmla="*/ 2622 w 2766"/>
              <a:gd name="T7" fmla="*/ 1390 h 2744"/>
              <a:gd name="T8" fmla="*/ 2567 w 2766"/>
              <a:gd name="T9" fmla="*/ 1359 h 2744"/>
              <a:gd name="T10" fmla="*/ 2483 w 2766"/>
              <a:gd name="T11" fmla="*/ 1308 h 2744"/>
              <a:gd name="T12" fmla="*/ 2375 w 2766"/>
              <a:gd name="T13" fmla="*/ 1233 h 2744"/>
              <a:gd name="T14" fmla="*/ 2271 w 2766"/>
              <a:gd name="T15" fmla="*/ 1151 h 2744"/>
              <a:gd name="T16" fmla="*/ 2171 w 2766"/>
              <a:gd name="T17" fmla="*/ 1063 h 2744"/>
              <a:gd name="T18" fmla="*/ 2075 w 2766"/>
              <a:gd name="T19" fmla="*/ 968 h 2744"/>
              <a:gd name="T20" fmla="*/ 1981 w 2766"/>
              <a:gd name="T21" fmla="*/ 870 h 2744"/>
              <a:gd name="T22" fmla="*/ 1893 w 2766"/>
              <a:gd name="T23" fmla="*/ 768 h 2744"/>
              <a:gd name="T24" fmla="*/ 1808 w 2766"/>
              <a:gd name="T25" fmla="*/ 664 h 2744"/>
              <a:gd name="T26" fmla="*/ 1729 w 2766"/>
              <a:gd name="T27" fmla="*/ 558 h 2744"/>
              <a:gd name="T28" fmla="*/ 1654 w 2766"/>
              <a:gd name="T29" fmla="*/ 453 h 2744"/>
              <a:gd name="T30" fmla="*/ 1584 w 2766"/>
              <a:gd name="T31" fmla="*/ 347 h 2744"/>
              <a:gd name="T32" fmla="*/ 1519 w 2766"/>
              <a:gd name="T33" fmla="*/ 244 h 2744"/>
              <a:gd name="T34" fmla="*/ 1461 w 2766"/>
              <a:gd name="T35" fmla="*/ 144 h 2744"/>
              <a:gd name="T36" fmla="*/ 1408 w 2766"/>
              <a:gd name="T37" fmla="*/ 47 h 2744"/>
              <a:gd name="T38" fmla="*/ 1358 w 2766"/>
              <a:gd name="T39" fmla="*/ 47 h 2744"/>
              <a:gd name="T40" fmla="*/ 1305 w 2766"/>
              <a:gd name="T41" fmla="*/ 144 h 2744"/>
              <a:gd name="T42" fmla="*/ 1245 w 2766"/>
              <a:gd name="T43" fmla="*/ 244 h 2744"/>
              <a:gd name="T44" fmla="*/ 1182 w 2766"/>
              <a:gd name="T45" fmla="*/ 347 h 2744"/>
              <a:gd name="T46" fmla="*/ 1112 w 2766"/>
              <a:gd name="T47" fmla="*/ 453 h 2744"/>
              <a:gd name="T48" fmla="*/ 1037 w 2766"/>
              <a:gd name="T49" fmla="*/ 558 h 2744"/>
              <a:gd name="T50" fmla="*/ 958 w 2766"/>
              <a:gd name="T51" fmla="*/ 664 h 2744"/>
              <a:gd name="T52" fmla="*/ 873 w 2766"/>
              <a:gd name="T53" fmla="*/ 768 h 2744"/>
              <a:gd name="T54" fmla="*/ 785 w 2766"/>
              <a:gd name="T55" fmla="*/ 870 h 2744"/>
              <a:gd name="T56" fmla="*/ 693 w 2766"/>
              <a:gd name="T57" fmla="*/ 968 h 2744"/>
              <a:gd name="T58" fmla="*/ 595 w 2766"/>
              <a:gd name="T59" fmla="*/ 1063 h 2744"/>
              <a:gd name="T60" fmla="*/ 495 w 2766"/>
              <a:gd name="T61" fmla="*/ 1151 h 2744"/>
              <a:gd name="T62" fmla="*/ 391 w 2766"/>
              <a:gd name="T63" fmla="*/ 1233 h 2744"/>
              <a:gd name="T64" fmla="*/ 283 w 2766"/>
              <a:gd name="T65" fmla="*/ 1308 h 2744"/>
              <a:gd name="T66" fmla="*/ 199 w 2766"/>
              <a:gd name="T67" fmla="*/ 1359 h 2744"/>
              <a:gd name="T68" fmla="*/ 144 w 2766"/>
              <a:gd name="T69" fmla="*/ 1390 h 2744"/>
              <a:gd name="T70" fmla="*/ 86 w 2766"/>
              <a:gd name="T71" fmla="*/ 1419 h 2744"/>
              <a:gd name="T72" fmla="*/ 29 w 2766"/>
              <a:gd name="T73" fmla="*/ 1445 h 2744"/>
              <a:gd name="T74" fmla="*/ 485 w 2766"/>
              <a:gd name="T75" fmla="*/ 1456 h 2744"/>
              <a:gd name="T76" fmla="*/ 2696 w 2766"/>
              <a:gd name="T77" fmla="*/ 2744 h 2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766" h="2744">
                <a:moveTo>
                  <a:pt x="2696" y="2744"/>
                </a:moveTo>
                <a:lnTo>
                  <a:pt x="2281" y="1456"/>
                </a:lnTo>
                <a:lnTo>
                  <a:pt x="2766" y="1456"/>
                </a:lnTo>
                <a:lnTo>
                  <a:pt x="2737" y="1445"/>
                </a:lnTo>
                <a:lnTo>
                  <a:pt x="2707" y="1432"/>
                </a:lnTo>
                <a:lnTo>
                  <a:pt x="2680" y="1419"/>
                </a:lnTo>
                <a:lnTo>
                  <a:pt x="2650" y="1404"/>
                </a:lnTo>
                <a:lnTo>
                  <a:pt x="2622" y="1390"/>
                </a:lnTo>
                <a:lnTo>
                  <a:pt x="2595" y="1375"/>
                </a:lnTo>
                <a:lnTo>
                  <a:pt x="2567" y="1359"/>
                </a:lnTo>
                <a:lnTo>
                  <a:pt x="2539" y="1343"/>
                </a:lnTo>
                <a:lnTo>
                  <a:pt x="2483" y="1308"/>
                </a:lnTo>
                <a:lnTo>
                  <a:pt x="2429" y="1271"/>
                </a:lnTo>
                <a:lnTo>
                  <a:pt x="2375" y="1233"/>
                </a:lnTo>
                <a:lnTo>
                  <a:pt x="2324" y="1193"/>
                </a:lnTo>
                <a:lnTo>
                  <a:pt x="2271" y="1151"/>
                </a:lnTo>
                <a:lnTo>
                  <a:pt x="2221" y="1108"/>
                </a:lnTo>
                <a:lnTo>
                  <a:pt x="2171" y="1063"/>
                </a:lnTo>
                <a:lnTo>
                  <a:pt x="2121" y="1015"/>
                </a:lnTo>
                <a:lnTo>
                  <a:pt x="2075" y="968"/>
                </a:lnTo>
                <a:lnTo>
                  <a:pt x="2028" y="920"/>
                </a:lnTo>
                <a:lnTo>
                  <a:pt x="1981" y="870"/>
                </a:lnTo>
                <a:lnTo>
                  <a:pt x="1937" y="820"/>
                </a:lnTo>
                <a:lnTo>
                  <a:pt x="1893" y="768"/>
                </a:lnTo>
                <a:lnTo>
                  <a:pt x="1850" y="717"/>
                </a:lnTo>
                <a:lnTo>
                  <a:pt x="1808" y="664"/>
                </a:lnTo>
                <a:lnTo>
                  <a:pt x="1768" y="611"/>
                </a:lnTo>
                <a:lnTo>
                  <a:pt x="1729" y="558"/>
                </a:lnTo>
                <a:lnTo>
                  <a:pt x="1691" y="506"/>
                </a:lnTo>
                <a:lnTo>
                  <a:pt x="1654" y="453"/>
                </a:lnTo>
                <a:lnTo>
                  <a:pt x="1619" y="400"/>
                </a:lnTo>
                <a:lnTo>
                  <a:pt x="1584" y="347"/>
                </a:lnTo>
                <a:lnTo>
                  <a:pt x="1551" y="296"/>
                </a:lnTo>
                <a:lnTo>
                  <a:pt x="1519" y="244"/>
                </a:lnTo>
                <a:lnTo>
                  <a:pt x="1490" y="194"/>
                </a:lnTo>
                <a:lnTo>
                  <a:pt x="1461" y="144"/>
                </a:lnTo>
                <a:lnTo>
                  <a:pt x="1433" y="95"/>
                </a:lnTo>
                <a:lnTo>
                  <a:pt x="1408" y="47"/>
                </a:lnTo>
                <a:lnTo>
                  <a:pt x="1383" y="0"/>
                </a:lnTo>
                <a:lnTo>
                  <a:pt x="1358" y="47"/>
                </a:lnTo>
                <a:lnTo>
                  <a:pt x="1332" y="95"/>
                </a:lnTo>
                <a:lnTo>
                  <a:pt x="1305" y="144"/>
                </a:lnTo>
                <a:lnTo>
                  <a:pt x="1276" y="194"/>
                </a:lnTo>
                <a:lnTo>
                  <a:pt x="1245" y="244"/>
                </a:lnTo>
                <a:lnTo>
                  <a:pt x="1215" y="296"/>
                </a:lnTo>
                <a:lnTo>
                  <a:pt x="1182" y="347"/>
                </a:lnTo>
                <a:lnTo>
                  <a:pt x="1147" y="400"/>
                </a:lnTo>
                <a:lnTo>
                  <a:pt x="1112" y="453"/>
                </a:lnTo>
                <a:lnTo>
                  <a:pt x="1075" y="506"/>
                </a:lnTo>
                <a:lnTo>
                  <a:pt x="1037" y="558"/>
                </a:lnTo>
                <a:lnTo>
                  <a:pt x="998" y="611"/>
                </a:lnTo>
                <a:lnTo>
                  <a:pt x="958" y="664"/>
                </a:lnTo>
                <a:lnTo>
                  <a:pt x="916" y="717"/>
                </a:lnTo>
                <a:lnTo>
                  <a:pt x="873" y="768"/>
                </a:lnTo>
                <a:lnTo>
                  <a:pt x="829" y="820"/>
                </a:lnTo>
                <a:lnTo>
                  <a:pt x="785" y="870"/>
                </a:lnTo>
                <a:lnTo>
                  <a:pt x="740" y="920"/>
                </a:lnTo>
                <a:lnTo>
                  <a:pt x="693" y="968"/>
                </a:lnTo>
                <a:lnTo>
                  <a:pt x="645" y="1015"/>
                </a:lnTo>
                <a:lnTo>
                  <a:pt x="595" y="1063"/>
                </a:lnTo>
                <a:lnTo>
                  <a:pt x="545" y="1108"/>
                </a:lnTo>
                <a:lnTo>
                  <a:pt x="495" y="1151"/>
                </a:lnTo>
                <a:lnTo>
                  <a:pt x="442" y="1193"/>
                </a:lnTo>
                <a:lnTo>
                  <a:pt x="391" y="1233"/>
                </a:lnTo>
                <a:lnTo>
                  <a:pt x="337" y="1271"/>
                </a:lnTo>
                <a:lnTo>
                  <a:pt x="283" y="1308"/>
                </a:lnTo>
                <a:lnTo>
                  <a:pt x="227" y="1343"/>
                </a:lnTo>
                <a:lnTo>
                  <a:pt x="199" y="1359"/>
                </a:lnTo>
                <a:lnTo>
                  <a:pt x="171" y="1375"/>
                </a:lnTo>
                <a:lnTo>
                  <a:pt x="144" y="1390"/>
                </a:lnTo>
                <a:lnTo>
                  <a:pt x="116" y="1404"/>
                </a:lnTo>
                <a:lnTo>
                  <a:pt x="86" y="1419"/>
                </a:lnTo>
                <a:lnTo>
                  <a:pt x="59" y="1432"/>
                </a:lnTo>
                <a:lnTo>
                  <a:pt x="29" y="1445"/>
                </a:lnTo>
                <a:lnTo>
                  <a:pt x="0" y="1456"/>
                </a:lnTo>
                <a:lnTo>
                  <a:pt x="485" y="1456"/>
                </a:lnTo>
                <a:lnTo>
                  <a:pt x="70" y="2744"/>
                </a:lnTo>
                <a:lnTo>
                  <a:pt x="2696" y="2744"/>
                </a:lnTo>
                <a:close/>
              </a:path>
            </a:pathLst>
          </a:custGeom>
          <a:gradFill rotWithShape="1">
            <a:gsLst>
              <a:gs pos="0">
                <a:srgbClr val="808080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eaVert" anchor="ctr"/>
          <a:lstStyle/>
          <a:p>
            <a:pPr algn="ctr" defTabSz="914400" fontAlgn="base" latinLnBrk="1">
              <a:spcBef>
                <a:spcPct val="0"/>
              </a:spcBef>
              <a:spcAft>
                <a:spcPct val="0"/>
              </a:spcAft>
            </a:pPr>
            <a:endParaRPr kumimoji="1" lang="ko-KR" altLang="en-US" sz="923" b="1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1339391" y="4774896"/>
            <a:ext cx="6303356" cy="464809"/>
          </a:xfrm>
          <a:prstGeom prst="rect">
            <a:avLst/>
          </a:prstGeom>
          <a:solidFill>
            <a:srgbClr val="363A94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32308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/>
            <a:r>
              <a:rPr lang="ko-KR" altLang="en-US" sz="1200" i="1" kern="0" dirty="0" smtClean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수요와 </a:t>
            </a:r>
            <a:r>
              <a:rPr lang="ko-KR" altLang="en-US" sz="1200" i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공급의 불균형으로 인한 해운사태 발발</a:t>
            </a:r>
            <a:endParaRPr lang="ko-KR" altLang="en-US" sz="1200" kern="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4" name="Oval 6"/>
          <p:cNvSpPr>
            <a:spLocks noChangeArrowheads="1"/>
          </p:cNvSpPr>
          <p:nvPr/>
        </p:nvSpPr>
        <p:spPr bwMode="auto">
          <a:xfrm>
            <a:off x="1127265" y="4774896"/>
            <a:ext cx="438150" cy="464809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38100" algn="ctr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/>
          <a:p>
            <a:pPr marL="82064" indent="-82064" algn="ctr" defTabSz="914400" eaLnBrk="0" fontAlgn="ctr" hangingPunct="0">
              <a:spcBef>
                <a:spcPct val="20000"/>
              </a:spcBef>
              <a:defRPr/>
            </a:pPr>
            <a:r>
              <a:rPr lang="en-US" altLang="ko-KR" sz="1292" b="1" i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</a:t>
            </a:r>
          </a:p>
        </p:txBody>
      </p:sp>
      <p:sp>
        <p:nvSpPr>
          <p:cNvPr id="15" name="직사각형 14"/>
          <p:cNvSpPr/>
          <p:nvPr/>
        </p:nvSpPr>
        <p:spPr>
          <a:xfrm>
            <a:off x="1339391" y="5292733"/>
            <a:ext cx="6303356" cy="464809"/>
          </a:xfrm>
          <a:prstGeom prst="rect">
            <a:avLst/>
          </a:prstGeom>
          <a:solidFill>
            <a:srgbClr val="363A94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32308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/>
            <a:r>
              <a:rPr lang="ko-KR" altLang="en-US" sz="1200" i="1" kern="0" dirty="0" smtClean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국내 </a:t>
            </a:r>
            <a:r>
              <a:rPr lang="ko-KR" altLang="en-US" sz="1200" i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유일 원양 컨테이너선사로의 부담감 증가</a:t>
            </a:r>
          </a:p>
        </p:txBody>
      </p:sp>
      <p:sp>
        <p:nvSpPr>
          <p:cNvPr id="16" name="Oval 6"/>
          <p:cNvSpPr>
            <a:spLocks noChangeArrowheads="1"/>
          </p:cNvSpPr>
          <p:nvPr/>
        </p:nvSpPr>
        <p:spPr bwMode="auto">
          <a:xfrm>
            <a:off x="1127265" y="5291955"/>
            <a:ext cx="438150" cy="464809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38100" algn="ctr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/>
          <a:p>
            <a:pPr marL="82064" indent="-82064" algn="ctr" defTabSz="914400" eaLnBrk="0" fontAlgn="ctr" hangingPunct="0">
              <a:spcBef>
                <a:spcPct val="20000"/>
              </a:spcBef>
              <a:defRPr/>
            </a:pPr>
            <a:r>
              <a:rPr lang="en-US" altLang="ko-KR" sz="1292" b="1" i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</a:t>
            </a:r>
          </a:p>
        </p:txBody>
      </p:sp>
      <p:sp>
        <p:nvSpPr>
          <p:cNvPr id="17" name="모서리가 둥근 직사각형 16"/>
          <p:cNvSpPr/>
          <p:nvPr>
            <p:custDataLst>
              <p:tags r:id="rId1"/>
            </p:custDataLst>
          </p:nvPr>
        </p:nvSpPr>
        <p:spPr bwMode="auto">
          <a:xfrm>
            <a:off x="1478904" y="2885422"/>
            <a:ext cx="3000032" cy="615582"/>
          </a:xfrm>
          <a:prstGeom prst="roundRect">
            <a:avLst>
              <a:gd name="adj" fmla="val 29841"/>
            </a:avLst>
          </a:prstGeom>
          <a:gradFill flip="none" rotWithShape="1">
            <a:gsLst>
              <a:gs pos="0">
                <a:srgbClr val="FFFFFF"/>
              </a:gs>
              <a:gs pos="85000">
                <a:srgbClr val="FFFFFF"/>
              </a:gs>
              <a:gs pos="100000">
                <a:srgbClr val="004B8E"/>
              </a:gs>
            </a:gsLst>
            <a:path path="shape">
              <a:fillToRect l="50000" t="50000" r="50000" b="50000"/>
            </a:path>
            <a:tileRect/>
          </a:gradFill>
          <a:ln w="3175" algn="ctr">
            <a:solidFill>
              <a:srgbClr val="002060">
                <a:lumMod val="75000"/>
              </a:srgbClr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ctr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ko-KR" altLang="en-US" sz="1300" b="1" kern="0" noProof="0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부의 지원에 대한 정책적 시사점 제시</a:t>
            </a:r>
            <a:endParaRPr kumimoji="1" lang="ko-KR" altLang="en-US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Microsoft Himalaya" pitchFamily="2" charset="0"/>
            </a:endParaRPr>
          </a:p>
        </p:txBody>
      </p:sp>
      <p:sp>
        <p:nvSpPr>
          <p:cNvPr id="18" name="모서리가 둥근 직사각형 17"/>
          <p:cNvSpPr/>
          <p:nvPr>
            <p:custDataLst>
              <p:tags r:id="rId2"/>
            </p:custDataLst>
          </p:nvPr>
        </p:nvSpPr>
        <p:spPr bwMode="auto">
          <a:xfrm>
            <a:off x="4682314" y="2885422"/>
            <a:ext cx="2940558" cy="615582"/>
          </a:xfrm>
          <a:prstGeom prst="roundRect">
            <a:avLst>
              <a:gd name="adj" fmla="val 29841"/>
            </a:avLst>
          </a:prstGeom>
          <a:gradFill flip="none" rotWithShape="1">
            <a:gsLst>
              <a:gs pos="0">
                <a:srgbClr val="FFFFFF"/>
              </a:gs>
              <a:gs pos="85000">
                <a:srgbClr val="FFFFFF"/>
              </a:gs>
              <a:gs pos="100000">
                <a:srgbClr val="004B8E"/>
              </a:gs>
            </a:gsLst>
            <a:path path="shape">
              <a:fillToRect l="50000" t="50000" r="50000" b="50000"/>
            </a:path>
            <a:tileRect/>
          </a:gradFill>
          <a:ln w="3175" algn="ctr">
            <a:solidFill>
              <a:srgbClr val="002060">
                <a:lumMod val="75000"/>
              </a:srgbClr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914400" fontAlgn="ctr" latinLnBrk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ko-KR" altLang="en-US" sz="1300" b="1" kern="0" dirty="0">
                <a:ln>
                  <a:solidFill>
                    <a:srgbClr val="8064A2">
                      <a:alpha val="0"/>
                    </a:srgbClr>
                  </a:solidFill>
                </a:ln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해운사태 대응방향 제시</a:t>
            </a:r>
          </a:p>
        </p:txBody>
      </p:sp>
      <p:pic>
        <p:nvPicPr>
          <p:cNvPr id="19" name="Picture 289" descr="0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8904" y="4060800"/>
            <a:ext cx="6143968" cy="621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 Box 203"/>
          <p:cNvSpPr txBox="1">
            <a:spLocks noChangeArrowheads="1"/>
          </p:cNvSpPr>
          <p:nvPr/>
        </p:nvSpPr>
        <p:spPr bwMode="auto">
          <a:xfrm>
            <a:off x="1933522" y="4172995"/>
            <a:ext cx="5234730" cy="3054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fontAlgn="ctr">
              <a:spcBef>
                <a:spcPct val="50000"/>
              </a:spcBef>
              <a:defRPr/>
            </a:pPr>
            <a:r>
              <a:rPr lang="ko-KR" altLang="en-US" sz="1385" b="1" kern="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현대상선의 내</a:t>
            </a:r>
            <a:r>
              <a:rPr lang="en-US" altLang="ko-KR" sz="1385" b="1" kern="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·</a:t>
            </a:r>
            <a:r>
              <a:rPr lang="ko-KR" altLang="en-US" sz="1385" b="1" kern="0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  <a:cs typeface="Arial" pitchFamily="34" charset="0"/>
              </a:rPr>
              <a:t>외부 환경 분석</a:t>
            </a:r>
            <a:endParaRPr lang="ko-KR" altLang="ko-KR" sz="1385" b="1" kern="0" dirty="0">
              <a:solidFill>
                <a:srgbClr val="00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  <a:cs typeface="Arial" pitchFamily="34" charset="0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1339391" y="5810570"/>
            <a:ext cx="6303356" cy="464809"/>
          </a:xfrm>
          <a:prstGeom prst="rect">
            <a:avLst/>
          </a:prstGeom>
          <a:solidFill>
            <a:srgbClr val="363A94"/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32308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1"/>
            <a:r>
              <a:rPr lang="ko-KR" altLang="en-US" sz="1200" i="1" kern="0" dirty="0" smtClean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사태 </a:t>
            </a:r>
            <a:r>
              <a:rPr lang="ko-KR" altLang="en-US" sz="1200" i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응방향 필요성 증대</a:t>
            </a:r>
          </a:p>
        </p:txBody>
      </p:sp>
      <p:sp>
        <p:nvSpPr>
          <p:cNvPr id="22" name="Oval 6"/>
          <p:cNvSpPr>
            <a:spLocks noChangeArrowheads="1"/>
          </p:cNvSpPr>
          <p:nvPr/>
        </p:nvSpPr>
        <p:spPr bwMode="auto">
          <a:xfrm>
            <a:off x="1127265" y="5810570"/>
            <a:ext cx="438150" cy="464809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 w="38100" algn="ctr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/>
          <a:p>
            <a:pPr marL="82064" indent="-82064" algn="ctr" defTabSz="914400" eaLnBrk="0" fontAlgn="ctr" hangingPunct="0">
              <a:spcBef>
                <a:spcPct val="20000"/>
              </a:spcBef>
              <a:defRPr/>
            </a:pPr>
            <a:r>
              <a:rPr lang="en-US" altLang="ko-KR" sz="1292" b="1" i="1" kern="0" dirty="0">
                <a:solidFill>
                  <a:srgbClr val="FFFFFF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138852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의 목적</a:t>
            </a:r>
            <a:endParaRPr lang="en-US" altLang="ko-KR" sz="20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695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내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·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을 통한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부의 지원에 대한 정책적 시사점과 현대상선의 해운사태 대응방향 제시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62932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꺾인 연결선 6"/>
          <p:cNvCxnSpPr>
            <a:stCxn id="101" idx="2"/>
            <a:endCxn id="119" idx="1"/>
          </p:cNvCxnSpPr>
          <p:nvPr/>
        </p:nvCxnSpPr>
        <p:spPr>
          <a:xfrm rot="16200000" flipH="1">
            <a:off x="3427563" y="4663896"/>
            <a:ext cx="1858212" cy="785504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59309" y="191063"/>
            <a:ext cx="357630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4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 </a:t>
            </a: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Framework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28473" y="81879"/>
            <a:ext cx="13660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AutoNum type="romanUcPeriod"/>
            </a:pP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 개요</a:t>
            </a:r>
            <a:endParaRPr lang="en-US" altLang="ko-KR" sz="1600" b="1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202375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구</a:t>
            </a: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Framework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695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내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·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외부 환경 분석을 통한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부의 지원에 대한 정책적 시사점과 현대상선의 해운사태 </a:t>
            </a:r>
            <a:r>
              <a:rPr lang="ko-KR" altLang="en-US" sz="1400" b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응방향 제시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85" name="Rectangle 35"/>
          <p:cNvSpPr>
            <a:spLocks noChangeArrowheads="1"/>
          </p:cNvSpPr>
          <p:nvPr/>
        </p:nvSpPr>
        <p:spPr bwMode="auto">
          <a:xfrm>
            <a:off x="637446" y="3741449"/>
            <a:ext cx="1300536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사업 조사 및 정리</a:t>
            </a:r>
          </a:p>
        </p:txBody>
      </p:sp>
      <p:sp>
        <p:nvSpPr>
          <p:cNvPr id="87" name="Rectangle 35"/>
          <p:cNvSpPr>
            <a:spLocks noChangeArrowheads="1"/>
          </p:cNvSpPr>
          <p:nvPr/>
        </p:nvSpPr>
        <p:spPr bwMode="auto">
          <a:xfrm>
            <a:off x="1251596" y="4426574"/>
            <a:ext cx="1077695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주가 변동 </a:t>
            </a:r>
            <a:r>
              <a: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heck</a:t>
            </a:r>
            <a:endParaRPr lang="ko-KR" altLang="en-US" sz="11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643628" y="2889249"/>
            <a:ext cx="2506948" cy="557285"/>
            <a:chOff x="643628" y="2889249"/>
            <a:chExt cx="2506948" cy="557285"/>
          </a:xfrm>
        </p:grpSpPr>
        <p:sp>
          <p:nvSpPr>
            <p:cNvPr id="88" name="오각형 6"/>
            <p:cNvSpPr/>
            <p:nvPr/>
          </p:nvSpPr>
          <p:spPr>
            <a:xfrm>
              <a:off x="643628" y="2889249"/>
              <a:ext cx="2506948" cy="557285"/>
            </a:xfrm>
            <a:prstGeom prst="homePlate">
              <a:avLst>
                <a:gd name="adj" fmla="val 13746"/>
              </a:avLst>
            </a:prstGeom>
            <a:solidFill>
              <a:srgbClr val="363A94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3037" marR="0" lvl="0" defTabSz="914400" eaLnBrk="1" fontAlgn="auto" latin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pPr marL="173037" marR="0" lvl="0" defTabSz="914400" eaLnBrk="1" fontAlgn="auto" latin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History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분석</a:t>
              </a:r>
              <a:endPara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92" name="직사각형 91"/>
            <p:cNvSpPr/>
            <p:nvPr/>
          </p:nvSpPr>
          <p:spPr>
            <a:xfrm>
              <a:off x="643628" y="2889250"/>
              <a:ext cx="643786" cy="2006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lvl="0" algn="ctr" defTabSz="914400" latinLnBrk="1">
                <a:lnSpc>
                  <a:spcPct val="120000"/>
                </a:lnSpc>
                <a:defRPr/>
              </a:pPr>
              <a:r>
                <a:rPr lang="en-US" altLang="ko-KR" sz="1200" b="1" kern="0" dirty="0">
                  <a:solidFill>
                    <a:schemeClr val="tx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STEP 1</a:t>
              </a:r>
            </a:p>
          </p:txBody>
        </p:sp>
      </p:grpSp>
      <p:sp>
        <p:nvSpPr>
          <p:cNvPr id="96" name="Rectangle 35"/>
          <p:cNvSpPr>
            <a:spLocks noChangeArrowheads="1"/>
          </p:cNvSpPr>
          <p:nvPr/>
        </p:nvSpPr>
        <p:spPr bwMode="auto">
          <a:xfrm>
            <a:off x="1640692" y="5111699"/>
            <a:ext cx="1416549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주가</a:t>
            </a:r>
            <a:r>
              <a: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변동 원인 확인</a:t>
            </a:r>
          </a:p>
        </p:txBody>
      </p:sp>
      <p:cxnSp>
        <p:nvCxnSpPr>
          <p:cNvPr id="97" name="직선 연결선 22"/>
          <p:cNvCxnSpPr/>
          <p:nvPr/>
        </p:nvCxnSpPr>
        <p:spPr>
          <a:xfrm>
            <a:off x="3255054" y="2919142"/>
            <a:ext cx="0" cy="3389582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</a:ln>
          <a:effectLst/>
        </p:spPr>
      </p:cxnSp>
      <p:sp>
        <p:nvSpPr>
          <p:cNvPr id="99" name="Rectangle 35"/>
          <p:cNvSpPr>
            <a:spLocks noChangeArrowheads="1"/>
          </p:cNvSpPr>
          <p:nvPr/>
        </p:nvSpPr>
        <p:spPr bwMode="auto">
          <a:xfrm>
            <a:off x="2481322" y="5796824"/>
            <a:ext cx="1067433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400" latinLnBrk="1"/>
            <a:r>
              <a: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Event </a:t>
            </a:r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리</a:t>
            </a:r>
          </a:p>
        </p:txBody>
      </p:sp>
      <p:sp>
        <p:nvSpPr>
          <p:cNvPr id="101" name="Rectangle 35"/>
          <p:cNvSpPr>
            <a:spLocks noChangeArrowheads="1"/>
          </p:cNvSpPr>
          <p:nvPr/>
        </p:nvSpPr>
        <p:spPr bwMode="auto">
          <a:xfrm>
            <a:off x="3355707" y="3741449"/>
            <a:ext cx="1216420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46800" tIns="46800" rIns="46800" bIns="46800" rtlCol="0" anchor="ctr"/>
          <a:lstStyle/>
          <a:p>
            <a:pPr algn="ctr" defTabSz="914400" latinLnBrk="1"/>
            <a:r>
              <a:rPr lang="en-US" altLang="ko-KR" sz="1100" b="1" kern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Value Chain </a:t>
            </a:r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</a:p>
        </p:txBody>
      </p:sp>
      <p:grpSp>
        <p:nvGrpSpPr>
          <p:cNvPr id="4" name="그룹 3"/>
          <p:cNvGrpSpPr/>
          <p:nvPr/>
        </p:nvGrpSpPr>
        <p:grpSpPr>
          <a:xfrm>
            <a:off x="3359532" y="2889249"/>
            <a:ext cx="2506948" cy="557285"/>
            <a:chOff x="3400475" y="2889249"/>
            <a:chExt cx="2506948" cy="557285"/>
          </a:xfrm>
        </p:grpSpPr>
        <p:sp>
          <p:nvSpPr>
            <p:cNvPr id="112" name="오각형 6"/>
            <p:cNvSpPr/>
            <p:nvPr/>
          </p:nvSpPr>
          <p:spPr>
            <a:xfrm>
              <a:off x="3400475" y="2889249"/>
              <a:ext cx="2506948" cy="557285"/>
            </a:xfrm>
            <a:prstGeom prst="homePlate">
              <a:avLst>
                <a:gd name="adj" fmla="val 13746"/>
              </a:avLst>
            </a:prstGeom>
            <a:solidFill>
              <a:srgbClr val="363A94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3037" marR="0" lvl="0" defTabSz="914400" eaLnBrk="1" fontAlgn="auto" latin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pPr marL="173037" marR="0" lvl="0" defTabSz="914400" eaLnBrk="1" fontAlgn="auto" latin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ko-KR" altLang="en-US" sz="14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내</a:t>
              </a:r>
              <a:r>
                <a:rPr lang="en-US" altLang="ko-KR" sz="14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·</a:t>
              </a:r>
              <a:r>
                <a:rPr lang="ko-KR" altLang="en-US" sz="1400" b="1" kern="0" dirty="0">
                  <a:solidFill>
                    <a:schemeClr val="bg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외부 환경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</a:t>
              </a: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분석</a:t>
              </a:r>
              <a:endPara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113" name="직사각형 112"/>
            <p:cNvSpPr/>
            <p:nvPr/>
          </p:nvSpPr>
          <p:spPr>
            <a:xfrm>
              <a:off x="3400475" y="2889250"/>
              <a:ext cx="643786" cy="2006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lvl="0" algn="ctr" defTabSz="914400" latinLnBrk="1">
                <a:lnSpc>
                  <a:spcPct val="120000"/>
                </a:lnSpc>
                <a:defRPr/>
              </a:pPr>
              <a:r>
                <a:rPr lang="en-US" altLang="ko-KR" sz="1200" b="1" kern="0" dirty="0">
                  <a:solidFill>
                    <a:schemeClr val="tx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STEP 2</a:t>
              </a: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6075437" y="2889249"/>
            <a:ext cx="2506948" cy="557285"/>
            <a:chOff x="6075437" y="2889249"/>
            <a:chExt cx="2506948" cy="557285"/>
          </a:xfrm>
        </p:grpSpPr>
        <p:sp>
          <p:nvSpPr>
            <p:cNvPr id="114" name="오각형 6"/>
            <p:cNvSpPr/>
            <p:nvPr/>
          </p:nvSpPr>
          <p:spPr>
            <a:xfrm>
              <a:off x="6075437" y="2889249"/>
              <a:ext cx="2506948" cy="557285"/>
            </a:xfrm>
            <a:prstGeom prst="homePlate">
              <a:avLst>
                <a:gd name="adj" fmla="val 13746"/>
              </a:avLst>
            </a:prstGeom>
            <a:solidFill>
              <a:srgbClr val="363A94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3037" marR="0" lvl="0" defTabSz="914400" eaLnBrk="1" fontAlgn="auto" latin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  <a:p>
              <a:pPr marL="173037" marR="0" lvl="0" defTabSz="914400" eaLnBrk="1" fontAlgn="auto" latin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대응방향 도출</a:t>
              </a:r>
              <a:endParaRPr kumimoji="0" lang="en-US" altLang="ko-KR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115" name="직사각형 114"/>
            <p:cNvSpPr/>
            <p:nvPr/>
          </p:nvSpPr>
          <p:spPr>
            <a:xfrm>
              <a:off x="6075437" y="2889250"/>
              <a:ext cx="643786" cy="2006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lvl="0" algn="ctr" defTabSz="914400" latinLnBrk="1">
                <a:lnSpc>
                  <a:spcPct val="120000"/>
                </a:lnSpc>
                <a:defRPr/>
              </a:pPr>
              <a:r>
                <a:rPr lang="en-US" altLang="ko-KR" sz="1200" b="1" kern="0" dirty="0">
                  <a:solidFill>
                    <a:schemeClr val="tx1"/>
                  </a:solidFill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STEP 3</a:t>
              </a:r>
            </a:p>
          </p:txBody>
        </p:sp>
      </p:grpSp>
      <p:cxnSp>
        <p:nvCxnSpPr>
          <p:cNvPr id="116" name="직선 연결선 22"/>
          <p:cNvCxnSpPr/>
          <p:nvPr/>
        </p:nvCxnSpPr>
        <p:spPr>
          <a:xfrm>
            <a:off x="5970958" y="2919142"/>
            <a:ext cx="0" cy="3389582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</a:ln>
          <a:effectLst/>
        </p:spPr>
      </p:cxnSp>
      <p:sp>
        <p:nvSpPr>
          <p:cNvPr id="117" name="Rectangle 35"/>
          <p:cNvSpPr>
            <a:spLocks noChangeArrowheads="1"/>
          </p:cNvSpPr>
          <p:nvPr/>
        </p:nvSpPr>
        <p:spPr bwMode="auto">
          <a:xfrm>
            <a:off x="3355707" y="4426574"/>
            <a:ext cx="1216420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46800" tIns="46800" rIns="46800" bIns="46800" rtlCol="0" anchor="ctr"/>
          <a:lstStyle/>
          <a:p>
            <a:pPr algn="ctr" defTabSz="914400" latinLnBrk="1"/>
            <a:r>
              <a: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ESTA </a:t>
            </a:r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</a:p>
        </p:txBody>
      </p:sp>
      <p:sp>
        <p:nvSpPr>
          <p:cNvPr id="119" name="Rectangle 35"/>
          <p:cNvSpPr>
            <a:spLocks noChangeArrowheads="1"/>
          </p:cNvSpPr>
          <p:nvPr/>
        </p:nvSpPr>
        <p:spPr bwMode="auto">
          <a:xfrm>
            <a:off x="4749421" y="5792707"/>
            <a:ext cx="1117058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46800" tIns="46800" rIns="46800" bIns="46800" rtlCol="0" anchor="ctr"/>
          <a:lstStyle/>
          <a:p>
            <a:pPr algn="ctr" defTabSz="914400" latinLnBrk="1"/>
            <a:r>
              <a:rPr lang="en-US" altLang="ko-KR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WOT </a:t>
            </a:r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</a:p>
        </p:txBody>
      </p:sp>
      <p:sp>
        <p:nvSpPr>
          <p:cNvPr id="120" name="Rectangle 35"/>
          <p:cNvSpPr>
            <a:spLocks noChangeArrowheads="1"/>
          </p:cNvSpPr>
          <p:nvPr/>
        </p:nvSpPr>
        <p:spPr bwMode="auto">
          <a:xfrm>
            <a:off x="6075437" y="3741449"/>
            <a:ext cx="1453036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46800" tIns="46800" rIns="46800" bIns="46800" rtlCol="0" anchor="ctr"/>
          <a:lstStyle/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비용함수 도출</a:t>
            </a:r>
          </a:p>
        </p:txBody>
      </p:sp>
      <p:sp>
        <p:nvSpPr>
          <p:cNvPr id="121" name="Rectangle 35"/>
          <p:cNvSpPr>
            <a:spLocks noChangeArrowheads="1"/>
          </p:cNvSpPr>
          <p:nvPr/>
        </p:nvSpPr>
        <p:spPr bwMode="auto">
          <a:xfrm>
            <a:off x="6075437" y="4422608"/>
            <a:ext cx="1453036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46800" tIns="46800" rIns="46800" bIns="46800" rtlCol="0" anchor="ctr"/>
          <a:lstStyle/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총수입함수 도출</a:t>
            </a:r>
          </a:p>
        </p:txBody>
      </p:sp>
      <p:sp>
        <p:nvSpPr>
          <p:cNvPr id="124" name="Rectangle 35"/>
          <p:cNvSpPr>
            <a:spLocks noChangeArrowheads="1"/>
          </p:cNvSpPr>
          <p:nvPr/>
        </p:nvSpPr>
        <p:spPr bwMode="auto">
          <a:xfrm>
            <a:off x="7069539" y="5103767"/>
            <a:ext cx="1463273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46800" tIns="46800" rIns="46800" bIns="46800" rtlCol="0" anchor="ctr"/>
          <a:lstStyle/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해운사태</a:t>
            </a:r>
            <a:endParaRPr lang="en-US" altLang="ko-KR" sz="11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응방향 제시</a:t>
            </a:r>
          </a:p>
        </p:txBody>
      </p:sp>
      <p:sp>
        <p:nvSpPr>
          <p:cNvPr id="125" name="Rectangle 35"/>
          <p:cNvSpPr>
            <a:spLocks noChangeArrowheads="1"/>
          </p:cNvSpPr>
          <p:nvPr/>
        </p:nvSpPr>
        <p:spPr bwMode="auto">
          <a:xfrm>
            <a:off x="7069539" y="5784925"/>
            <a:ext cx="1463273" cy="3860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46800" tIns="46800" rIns="46800" bIns="46800" rtlCol="0" anchor="ctr"/>
          <a:lstStyle/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부 지원에 대한</a:t>
            </a:r>
            <a:endParaRPr lang="en-US" altLang="ko-KR" sz="1100" b="1" kern="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 defTabSz="914400" latinLnBrk="1"/>
            <a:r>
              <a:rPr lang="ko-KR" altLang="en-US" sz="11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책적 시사점 도출</a:t>
            </a:r>
          </a:p>
        </p:txBody>
      </p:sp>
      <p:cxnSp>
        <p:nvCxnSpPr>
          <p:cNvPr id="126" name="꺾인 연결선 125"/>
          <p:cNvCxnSpPr>
            <a:stCxn id="119" idx="3"/>
          </p:cNvCxnSpPr>
          <p:nvPr/>
        </p:nvCxnSpPr>
        <p:spPr>
          <a:xfrm flipV="1">
            <a:off x="5866479" y="5338139"/>
            <a:ext cx="1130896" cy="64761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꺾인 연결선 126"/>
          <p:cNvCxnSpPr>
            <a:stCxn id="119" idx="3"/>
          </p:cNvCxnSpPr>
          <p:nvPr/>
        </p:nvCxnSpPr>
        <p:spPr>
          <a:xfrm>
            <a:off x="5866479" y="5985754"/>
            <a:ext cx="1130896" cy="1270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직사각형 16"/>
          <p:cNvSpPr/>
          <p:nvPr/>
        </p:nvSpPr>
        <p:spPr>
          <a:xfrm>
            <a:off x="6997375" y="5023110"/>
            <a:ext cx="1614362" cy="1268508"/>
          </a:xfrm>
          <a:prstGeom prst="rect">
            <a:avLst/>
          </a:prstGeom>
          <a:noFill/>
          <a:ln w="28575">
            <a:solidFill>
              <a:srgbClr val="363A9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cxnSp>
        <p:nvCxnSpPr>
          <p:cNvPr id="128" name="꺾인 연결선 127"/>
          <p:cNvCxnSpPr>
            <a:stCxn id="120" idx="3"/>
          </p:cNvCxnSpPr>
          <p:nvPr/>
        </p:nvCxnSpPr>
        <p:spPr>
          <a:xfrm>
            <a:off x="7528473" y="3934496"/>
            <a:ext cx="683040" cy="1087200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꺾인 연결선 128"/>
          <p:cNvCxnSpPr>
            <a:stCxn id="121" idx="3"/>
            <a:endCxn id="17" idx="0"/>
          </p:cNvCxnSpPr>
          <p:nvPr/>
        </p:nvCxnSpPr>
        <p:spPr>
          <a:xfrm>
            <a:off x="7528472" y="4615655"/>
            <a:ext cx="684000" cy="396000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190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1330054" y="2366683"/>
            <a:ext cx="6494929" cy="2238327"/>
          </a:xfrm>
          <a:prstGeom prst="rect">
            <a:avLst/>
          </a:prstGeom>
          <a:solidFill>
            <a:srgbClr val="363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60311" y="2524836"/>
            <a:ext cx="1941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4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ONTENTS :</a:t>
            </a:r>
            <a:endParaRPr lang="ko-KR" altLang="en-US" sz="2400" b="1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18462" y="2418246"/>
            <a:ext cx="2635209" cy="1338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 사업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사태 관련 </a:t>
            </a:r>
            <a:r>
              <a:rPr lang="en-US" altLang="ko-KR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Events</a:t>
            </a:r>
          </a:p>
          <a:p>
            <a:pPr marL="400050" indent="-400050">
              <a:lnSpc>
                <a:spcPct val="150000"/>
              </a:lnSpc>
              <a:buFont typeface="+mj-lt"/>
              <a:buAutoNum type="arabicPeriod"/>
            </a:pP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전략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79673" y="2986501"/>
            <a:ext cx="1802801" cy="4732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>
              <a:lnSpc>
                <a:spcPct val="150000"/>
              </a:lnSpc>
              <a:buFont typeface="+mj-lt"/>
              <a:buAutoNum type="romanUcPeriod" startAt="2"/>
            </a:pPr>
            <a:r>
              <a:rPr lang="en-US" altLang="ko-KR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History </a:t>
            </a:r>
            <a:r>
              <a:rPr lang="ko-KR" altLang="en-US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  <a:endParaRPr lang="en-US" altLang="ko-KR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9" name="Picture 4" descr="관련 이미지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2" t="10779" r="1215" b="10480"/>
          <a:stretch/>
        </p:blipFill>
        <p:spPr bwMode="auto">
          <a:xfrm>
            <a:off x="7139293" y="255489"/>
            <a:ext cx="1831975" cy="400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4625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9309" y="191063"/>
            <a:ext cx="292099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 사업</a:t>
            </a:r>
            <a:endParaRPr lang="en-US" altLang="ko-KR" sz="3200" dirty="0">
              <a:solidFill>
                <a:schemeClr val="bg1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221338" y="81879"/>
            <a:ext cx="167321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 algn="r">
              <a:lnSpc>
                <a:spcPct val="150000"/>
              </a:lnSpc>
              <a:buFont typeface="+mj-lt"/>
              <a:buAutoNum type="romanUcPeriod" startAt="2"/>
            </a:pPr>
            <a:r>
              <a:rPr lang="en-US" altLang="ko-KR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History </a:t>
            </a:r>
            <a:r>
              <a:rPr lang="ko-KR" altLang="en-US" sz="1600" b="1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석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5897" y="1351125"/>
            <a:ext cx="54200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현대상선의 사업 </a:t>
            </a: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『</a:t>
            </a:r>
            <a:r>
              <a:rPr lang="ko-KR" altLang="en-US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한민국 대표 해운사로 재도약</a:t>
            </a: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』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65896" y="1842443"/>
            <a:ext cx="7866917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사태를 계기로 비전을 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＇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한민국 대표 해운사로 재도약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’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으로 변경한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국내 유일 원양 컨테이너 선사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92150" y="3165596"/>
            <a:ext cx="3752849" cy="310820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</a:ln>
        </p:spPr>
        <p:txBody>
          <a:bodyPr wrap="square" lIns="72000" tIns="72000" rIns="0" bIns="0" rtlCol="0">
            <a:noAutofit/>
          </a:bodyPr>
          <a:lstStyle/>
          <a:p>
            <a:pPr marL="288000" defTabSz="914400" latinLnBrk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tabLst>
                <a:tab pos="180975" algn="l"/>
              </a:tabLst>
            </a:pPr>
            <a:r>
              <a:rPr kumimoji="1" lang="en-US" altLang="ko-KR" sz="14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[</a:t>
            </a:r>
            <a:r>
              <a:rPr kumimoji="1" lang="ko-KR" altLang="en-US" sz="14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설   립</a:t>
            </a:r>
            <a:r>
              <a:rPr kumimoji="1" lang="en-US" altLang="ko-KR" sz="14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}</a:t>
            </a:r>
          </a:p>
          <a:p>
            <a:pPr marL="540000" indent="-177800" defTabSz="914400" latinLnBrk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설립자 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주영</a:t>
            </a:r>
            <a:endParaRPr kumimoji="1" lang="en-US" altLang="ko-KR" sz="105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54000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설립일 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1976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월 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5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일</a:t>
            </a:r>
            <a:endParaRPr kumimoji="1" lang="en-US" altLang="ko-KR" sz="105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288000" defTabSz="914400" latinLnBrk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tabLst>
                <a:tab pos="180975" algn="l"/>
              </a:tabLst>
            </a:pPr>
            <a:r>
              <a:rPr kumimoji="1" lang="en-US" altLang="ko-KR" sz="14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[</a:t>
            </a:r>
            <a:r>
              <a:rPr kumimoji="1" lang="ko-KR" altLang="en-US" sz="14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   요</a:t>
            </a:r>
            <a:r>
              <a:rPr kumimoji="1" lang="en-US" altLang="ko-KR" sz="14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}</a:t>
            </a:r>
          </a:p>
          <a:p>
            <a:pPr marL="540000" indent="-177800" defTabSz="914400" latinLnBrk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EO : 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유창근</a:t>
            </a:r>
            <a:endParaRPr kumimoji="1" lang="en-US" altLang="ko-KR" sz="105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54000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매출규모 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5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조원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2015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기준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</a:p>
          <a:p>
            <a:pPr marL="54000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종업원 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1170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명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2016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분기 기준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</a:p>
          <a:p>
            <a:pPr marL="54000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선박 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컨테이너 선박 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64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22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63.6%</a:t>
            </a:r>
            <a:r>
              <a:rPr kumimoji="1" lang="ko-KR" altLang="en-US" sz="1050" dirty="0" err="1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용선률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</a:p>
          <a:p>
            <a:pPr marL="864000" defTabSz="914400" latinLnBrk="1">
              <a:spcAft>
                <a:spcPts val="300"/>
              </a:spcAft>
              <a:tabLst>
                <a:tab pos="180975" algn="l"/>
              </a:tabLst>
            </a:pPr>
            <a:r>
              <a:rPr kumimoji="1" lang="ko-KR" altLang="en-US" sz="1050" dirty="0" err="1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벌크선박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40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</a:t>
            </a:r>
            <a:endParaRPr kumimoji="1" lang="en-US" altLang="ko-KR" sz="105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54000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050" dirty="0" err="1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선복량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컨테이너선 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453,093TEU(13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위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</a:p>
        </p:txBody>
      </p:sp>
      <p:sp>
        <p:nvSpPr>
          <p:cNvPr id="30" name="직사각형 51"/>
          <p:cNvSpPr/>
          <p:nvPr/>
        </p:nvSpPr>
        <p:spPr bwMode="auto">
          <a:xfrm>
            <a:off x="692150" y="2912708"/>
            <a:ext cx="3752849" cy="252000"/>
          </a:xfrm>
          <a:prstGeom prst="rect">
            <a:avLst/>
          </a:prstGeom>
          <a:solidFill>
            <a:srgbClr val="363A94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1" hangingPunct="0">
              <a:lnSpc>
                <a:spcPct val="130000"/>
              </a:lnSpc>
              <a:spcBef>
                <a:spcPts val="200"/>
              </a:spcBef>
              <a:spcAft>
                <a:spcPts val="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기업 개요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779964" y="3165596"/>
            <a:ext cx="3752849" cy="3108204"/>
          </a:xfrm>
          <a:prstGeom prst="rect">
            <a:avLst/>
          </a:prstGeom>
          <a:solidFill>
            <a:sysClr val="window" lastClr="FFFFFF"/>
          </a:solidFill>
          <a:ln w="9525">
            <a:solidFill>
              <a:srgbClr val="FFFFFF">
                <a:lumMod val="50000"/>
              </a:srgbClr>
            </a:solidFill>
          </a:ln>
        </p:spPr>
        <p:txBody>
          <a:bodyPr wrap="square" lIns="72000" tIns="72000" rIns="0" bIns="0" rtlCol="0">
            <a:noAutofit/>
          </a:bodyPr>
          <a:lstStyle/>
          <a:p>
            <a:pPr marL="288000" lvl="0" defTabSz="914400" latinLnBrk="1">
              <a:spcBef>
                <a:spcPts val="300"/>
              </a:spcBef>
              <a:spcAft>
                <a:spcPts val="300"/>
              </a:spcAft>
              <a:tabLst>
                <a:tab pos="180975" algn="l"/>
              </a:tabLst>
            </a:pPr>
            <a:r>
              <a:rPr kumimoji="1" lang="en-US" altLang="ko-KR" sz="14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[</a:t>
            </a:r>
            <a:r>
              <a:rPr kumimoji="1" lang="ko-KR" altLang="en-US" sz="14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컨테이너 사업부</a:t>
            </a:r>
            <a:r>
              <a:rPr kumimoji="1" lang="en-US" altLang="ko-KR" sz="14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}</a:t>
            </a:r>
          </a:p>
          <a:p>
            <a:pPr marL="540000" lvl="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60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여개 정기항로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+100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여개 항구</a:t>
            </a:r>
            <a:endParaRPr kumimoji="1" lang="en-US" altLang="ko-KR" sz="105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540000" lvl="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050" dirty="0" err="1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선복량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기준 세계 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3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위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kumimoji="1" lang="ko-KR" altLang="en-US" sz="1050" dirty="0" err="1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미주서안항로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5%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시장 점유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</a:p>
          <a:p>
            <a:pPr marL="540000" lvl="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매출액 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4.4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조원</a:t>
            </a:r>
            <a:r>
              <a:rPr kumimoji="1" lang="en-US" altLang="ko-KR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2015</a:t>
            </a:r>
            <a:r>
              <a:rPr kumimoji="1" lang="ko-KR" altLang="en-US" sz="105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기준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</a:p>
          <a:p>
            <a:pPr marL="540000" lvl="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송량 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2930111TEU(2015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기준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, 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가동률 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74%</a:t>
            </a:r>
          </a:p>
          <a:p>
            <a:pPr marL="540000" lvl="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endParaRPr kumimoji="1" lang="en-US" altLang="ko-KR" sz="105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288000" lvl="0" defTabSz="914400" latinLnBrk="1">
              <a:spcBef>
                <a:spcPts val="300"/>
              </a:spcBef>
              <a:spcAft>
                <a:spcPts val="300"/>
              </a:spcAft>
              <a:tabLst>
                <a:tab pos="180975" algn="l"/>
              </a:tabLst>
            </a:pPr>
            <a:r>
              <a:rPr kumimoji="1" lang="en-US" altLang="ko-KR" sz="14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[</a:t>
            </a:r>
            <a:r>
              <a:rPr kumimoji="1" lang="ko-KR" altLang="en-US" sz="1400" b="1" dirty="0" err="1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벌크선</a:t>
            </a:r>
            <a:r>
              <a:rPr kumimoji="1" lang="ko-KR" altLang="en-US" sz="14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사업부</a:t>
            </a:r>
            <a:r>
              <a:rPr kumimoji="1" lang="en-US" altLang="ko-KR" sz="1400" b="1" dirty="0">
                <a:solidFill>
                  <a:srgbClr val="363A94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}</a:t>
            </a:r>
          </a:p>
          <a:p>
            <a:pPr marL="540000" lvl="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050" dirty="0" err="1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원유선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1" lang="ko-KR" altLang="en-US" sz="1050" dirty="0" err="1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제품선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부정기선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3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영역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, </a:t>
            </a:r>
            <a:r>
              <a:rPr kumimoji="1" lang="ko-KR" altLang="en-US" sz="1050" dirty="0" err="1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벌크정기선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프로젝트선 구성</a:t>
            </a:r>
            <a:endParaRPr kumimoji="1" lang="en-US" altLang="ko-KR" sz="1050" dirty="0">
              <a:solidFill>
                <a:prstClr val="black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540000" lvl="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050" dirty="0" err="1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선복량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4798340GT</a:t>
            </a:r>
          </a:p>
          <a:p>
            <a:pPr marL="540000" lvl="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매출액 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1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조원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2015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기준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</a:p>
          <a:p>
            <a:pPr marL="540000" indent="-177800" defTabSz="914400" latinLnBrk="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180975" algn="l"/>
              </a:tabLst>
            </a:pP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운송량 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41581197MT(2015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기준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, </a:t>
            </a:r>
            <a:r>
              <a:rPr kumimoji="1" lang="ko-KR" altLang="en-US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가동률 </a:t>
            </a:r>
            <a:r>
              <a:rPr kumimoji="1" lang="en-US" altLang="ko-KR" sz="105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89%</a:t>
            </a:r>
          </a:p>
        </p:txBody>
      </p:sp>
      <p:sp>
        <p:nvSpPr>
          <p:cNvPr id="32" name="직사각형 51"/>
          <p:cNvSpPr/>
          <p:nvPr/>
        </p:nvSpPr>
        <p:spPr bwMode="auto">
          <a:xfrm>
            <a:off x="4779964" y="2912708"/>
            <a:ext cx="3752849" cy="252000"/>
          </a:xfrm>
          <a:prstGeom prst="rect">
            <a:avLst/>
          </a:prstGeom>
          <a:solidFill>
            <a:srgbClr val="363A94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1" hangingPunct="0">
              <a:lnSpc>
                <a:spcPct val="130000"/>
              </a:lnSpc>
              <a:spcBef>
                <a:spcPts val="200"/>
              </a:spcBef>
              <a:spcAft>
                <a:spcPts val="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사업 </a:t>
            </a:r>
            <a:r>
              <a:rPr kumimoji="1" lang="ko-KR" alt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영억</a:t>
            </a:r>
            <a:endParaRPr kumimoji="1" lang="ko-KR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F6327-394B-4D01-930A-C455326EDDD4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27328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>
            <a:off x="665897" y="2924174"/>
            <a:ext cx="3758185" cy="3361859"/>
            <a:chOff x="684213" y="2353234"/>
            <a:chExt cx="4008811" cy="3697942"/>
          </a:xfrm>
        </p:grpSpPr>
        <p:grpSp>
          <p:nvGrpSpPr>
            <p:cNvPr id="3" name="그룹 2"/>
            <p:cNvGrpSpPr/>
            <p:nvPr/>
          </p:nvGrpSpPr>
          <p:grpSpPr>
            <a:xfrm>
              <a:off x="684213" y="2353235"/>
              <a:ext cx="4008811" cy="3697941"/>
              <a:chOff x="1020390" y="1963271"/>
              <a:chExt cx="5568669" cy="3348318"/>
            </a:xfrm>
          </p:grpSpPr>
          <p:pic>
            <p:nvPicPr>
              <p:cNvPr id="6" name="그림 5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82546" y="2077570"/>
                <a:ext cx="5244355" cy="3119719"/>
              </a:xfrm>
              <a:prstGeom prst="rect">
                <a:avLst/>
              </a:prstGeom>
            </p:spPr>
          </p:pic>
          <p:sp>
            <p:nvSpPr>
              <p:cNvPr id="7" name="직사각형 6"/>
              <p:cNvSpPr/>
              <p:nvPr/>
            </p:nvSpPr>
            <p:spPr>
              <a:xfrm>
                <a:off x="1020390" y="1963271"/>
                <a:ext cx="5568669" cy="3348318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4" name="직사각형 3"/>
            <p:cNvSpPr/>
            <p:nvPr/>
          </p:nvSpPr>
          <p:spPr>
            <a:xfrm>
              <a:off x="1869141" y="2479469"/>
              <a:ext cx="1788459" cy="4447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" name="직사각형 51"/>
            <p:cNvSpPr/>
            <p:nvPr/>
          </p:nvSpPr>
          <p:spPr bwMode="auto">
            <a:xfrm>
              <a:off x="684213" y="2353234"/>
              <a:ext cx="4008811" cy="282390"/>
            </a:xfrm>
            <a:prstGeom prst="rect">
              <a:avLst/>
            </a:prstGeom>
            <a:solidFill>
              <a:srgbClr val="363A94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72000" rIns="36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auto" latinLnBrk="1" hangingPunct="0">
                <a:lnSpc>
                  <a:spcPct val="13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6699"/>
                </a:buClr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혇대상선</a:t>
              </a: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rPr>
                <a:t> 연도별 영업이익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665897" y="1351125"/>
            <a:ext cx="1846018" cy="5155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Critical Events</a:t>
            </a:r>
          </a:p>
        </p:txBody>
      </p:sp>
      <p:grpSp>
        <p:nvGrpSpPr>
          <p:cNvPr id="9" name="그룹 8"/>
          <p:cNvGrpSpPr/>
          <p:nvPr/>
        </p:nvGrpSpPr>
        <p:grpSpPr>
          <a:xfrm>
            <a:off x="4787153" y="2924174"/>
            <a:ext cx="3780586" cy="3361859"/>
            <a:chOff x="4914046" y="2588092"/>
            <a:chExt cx="4008811" cy="3697942"/>
          </a:xfrm>
        </p:grpSpPr>
        <p:grpSp>
          <p:nvGrpSpPr>
            <p:cNvPr id="10" name="그룹 9"/>
            <p:cNvGrpSpPr/>
            <p:nvPr/>
          </p:nvGrpSpPr>
          <p:grpSpPr>
            <a:xfrm>
              <a:off x="4914046" y="2588092"/>
              <a:ext cx="4008811" cy="3697942"/>
              <a:chOff x="684213" y="2353234"/>
              <a:chExt cx="4008811" cy="3697942"/>
            </a:xfrm>
          </p:grpSpPr>
          <p:sp>
            <p:nvSpPr>
              <p:cNvPr id="13" name="직사각형 12"/>
              <p:cNvSpPr/>
              <p:nvPr/>
            </p:nvSpPr>
            <p:spPr>
              <a:xfrm>
                <a:off x="684213" y="2353235"/>
                <a:ext cx="4008811" cy="3697941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4" name="직사각형 13"/>
              <p:cNvSpPr/>
              <p:nvPr/>
            </p:nvSpPr>
            <p:spPr>
              <a:xfrm>
                <a:off x="1869141" y="2479469"/>
                <a:ext cx="1788459" cy="4447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5" name="직사각형 51"/>
              <p:cNvSpPr/>
              <p:nvPr/>
            </p:nvSpPr>
            <p:spPr bwMode="auto">
              <a:xfrm>
                <a:off x="684213" y="2353234"/>
                <a:ext cx="4008811" cy="282390"/>
              </a:xfrm>
              <a:prstGeom prst="rect">
                <a:avLst/>
              </a:prstGeom>
              <a:solidFill>
                <a:srgbClr val="363A94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8000" tIns="72000" rIns="36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auto" latinLnBrk="1" hangingPunct="0">
                  <a:lnSpc>
                    <a:spcPct val="130000"/>
                  </a:lnSpc>
                  <a:spcBef>
                    <a:spcPts val="200"/>
                  </a:spcBef>
                  <a:spcAft>
                    <a:spcPts val="0"/>
                  </a:spcAft>
                  <a:buClr>
                    <a:srgbClr val="006699"/>
                  </a:buClr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1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혇대상선</a:t>
                </a:r>
                <a:r>
                  <a:rPr kumimoji="1" lang="ko-KR" altLang="en-US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나눔바른고딕" panose="020B0603020101020101" pitchFamily="50" charset="-127"/>
                    <a:ea typeface="나눔바른고딕" panose="020B0603020101020101" pitchFamily="50" charset="-127"/>
                  </a:rPr>
                  <a:t> 연도별 부채비율</a:t>
                </a:r>
                <a:endParaRPr kumimoji="1" lang="ko-KR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나눔바른고딕" panose="020B0603020101020101" pitchFamily="50" charset="-127"/>
                  <a:ea typeface="나눔바른고딕" panose="020B0603020101020101" pitchFamily="50" charset="-127"/>
                </a:endParaRPr>
              </a:p>
            </p:txBody>
          </p:sp>
        </p:grpSp>
        <p:pic>
          <p:nvPicPr>
            <p:cNvPr id="11" name="그림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978627" y="2883481"/>
              <a:ext cx="3944230" cy="3402553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7849053" y="3375585"/>
              <a:ext cx="107380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spc="-1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Unicode MS" panose="020B0604020202020204" pitchFamily="50" charset="-127"/>
                  <a:ea typeface="Arial Unicode MS" panose="020B0604020202020204" pitchFamily="50" charset="-127"/>
                  <a:cs typeface="Arial Unicode MS" panose="020B0604020202020204" pitchFamily="50" charset="-127"/>
                </a:rPr>
                <a:t>2006%</a:t>
              </a:r>
              <a:endParaRPr lang="ko-KR" altLang="en-US" sz="2000" spc="-100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Unicode MS" panose="020B0604020202020204" pitchFamily="50" charset="-127"/>
                <a:ea typeface="Arial Unicode MS" panose="020B0604020202020204" pitchFamily="50" charset="-127"/>
                <a:cs typeface="Arial Unicode MS" panose="020B0604020202020204" pitchFamily="50" charset="-127"/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665896" y="1842443"/>
            <a:ext cx="7866917" cy="372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1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년 이후</a:t>
            </a:r>
            <a:r>
              <a:rPr lang="en-US" altLang="ko-KR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업의 불황으로 인한 지속적인 영업손실 발생으로 인해 본격적인 하락추세를 보임</a:t>
            </a:r>
            <a:endParaRPr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59309" y="191063"/>
            <a:ext cx="428623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. </a:t>
            </a:r>
            <a:r>
              <a:rPr lang="ko-KR" altLang="en-US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운사태 관련 </a:t>
            </a:r>
            <a:r>
              <a:rPr lang="en-US" altLang="ko-KR" sz="3200" dirty="0">
                <a:solidFill>
                  <a:schemeClr val="bg1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Events</a:t>
            </a:r>
          </a:p>
        </p:txBody>
      </p:sp>
    </p:spTree>
    <p:extLst>
      <p:ext uri="{BB962C8B-B14F-4D97-AF65-F5344CB8AC3E}">
        <p14:creationId xmlns:p14="http://schemas.microsoft.com/office/powerpoint/2010/main" val="1880503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9PVAFGBUyi_bFjfPxnR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eMICPhCEua2Iwm4tQd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9PVAFGBUyi_bFjfPxn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eMICPhCEua2Iwm4tQdK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eMICPhCEua2Iwm4tQd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eMICPhCEua2Iwm4tQd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eMICPhCEua2Iwm4tQd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eMICPhCEua2Iwm4tQd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6H4bHPW0SdjsYtNh36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eMICPhCEua2Iwm4tQd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eMICPhCEua2Iwm4tQd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eMICPhCEua2Iwm4tQd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eMICPhCEua2Iwm4tQd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6H4bHPW0SdjsYtNh36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eMICPhCEua2Iwm4tQdKw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886</TotalTime>
  <Words>2723</Words>
  <Application>Microsoft Office PowerPoint</Application>
  <PresentationFormat>화면 슬라이드 쇼(4:3)</PresentationFormat>
  <Paragraphs>665</Paragraphs>
  <Slides>40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40</vt:i4>
      </vt:variant>
    </vt:vector>
  </HeadingPairs>
  <TitlesOfParts>
    <vt:vector size="53" baseType="lpstr">
      <vt:lpstr>Arial Unicode MS</vt:lpstr>
      <vt:lpstr>HY견고딕</vt:lpstr>
      <vt:lpstr>宋体</vt:lpstr>
      <vt:lpstr>나눔바른고딕</vt:lpstr>
      <vt:lpstr>맑은 고딕</vt:lpstr>
      <vt:lpstr>함초롬돋움</vt:lpstr>
      <vt:lpstr>Arial</vt:lpstr>
      <vt:lpstr>Arial Black</vt:lpstr>
      <vt:lpstr>Calibri</vt:lpstr>
      <vt:lpstr>Calibri Light</vt:lpstr>
      <vt:lpstr>Microsoft Himalaya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ljdalbong@gmail.com</dc:creator>
  <cp:lastModifiedBy>Dong Hoon</cp:lastModifiedBy>
  <cp:revision>578</cp:revision>
  <dcterms:created xsi:type="dcterms:W3CDTF">2016-11-08T21:20:46Z</dcterms:created>
  <dcterms:modified xsi:type="dcterms:W3CDTF">2016-11-26T14:58:34Z</dcterms:modified>
</cp:coreProperties>
</file>